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21"/>
  </p:notesMasterIdLst>
  <p:sldIdLst>
    <p:sldId id="279" r:id="rId2"/>
    <p:sldId id="283" r:id="rId3"/>
    <p:sldId id="278" r:id="rId4"/>
    <p:sldId id="270" r:id="rId5"/>
    <p:sldId id="261" r:id="rId6"/>
    <p:sldId id="271" r:id="rId7"/>
    <p:sldId id="262" r:id="rId8"/>
    <p:sldId id="263" r:id="rId9"/>
    <p:sldId id="273" r:id="rId10"/>
    <p:sldId id="281" r:id="rId11"/>
    <p:sldId id="282" r:id="rId12"/>
    <p:sldId id="274" r:id="rId13"/>
    <p:sldId id="265" r:id="rId14"/>
    <p:sldId id="275" r:id="rId15"/>
    <p:sldId id="266" r:id="rId16"/>
    <p:sldId id="276" r:id="rId17"/>
    <p:sldId id="280" r:id="rId18"/>
    <p:sldId id="268" r:id="rId19"/>
    <p:sldId id="269" r:id="rId20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B931"/>
    <a:srgbClr val="69A1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1848" y="-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D48250A1-0917-44BA-AB56-BBB2C64D1ECA}" type="datetimeFigureOut">
              <a:rPr lang="he-IL" smtClean="0"/>
              <a:t>י"ח/תשרי/תשע"ג</a:t>
            </a:fld>
            <a:endParaRPr lang="he-I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he-I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e-I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862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588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7E10D1A6-85B2-414B-BD22-4AA0E700E97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71470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>
              <a:buFontTx/>
              <a:buChar char="•"/>
            </a:pPr>
            <a:endParaRPr lang="he-IL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Visual Studio Live! Las Vegas 2011MGB 200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i="0" smtClean="0"/>
              <a:t>© 2003 Microsoft Corporation. All rights reserved.</a:t>
            </a:r>
          </a:p>
          <a:p>
            <a:pPr eaLnBrk="0" hangingPunct="0">
              <a:defRPr/>
            </a:pPr>
            <a:r>
              <a:rPr lang="en-US" i="0" smtClean="0"/>
              <a:t>This presentation is for informational purposes only. Microsoft makes no warranties, express or implied, in this summary.</a:t>
            </a:r>
            <a:endParaRPr lang="en-US" sz="1200" i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8FCF97-EF01-45F1-A856-79AFCD17F0CC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827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13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5464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2606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&lt;Title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7906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43608" y="4077072"/>
            <a:ext cx="7632848" cy="653264"/>
          </a:xfrm>
        </p:spPr>
        <p:txBody>
          <a:bodyPr>
            <a:noAutofit/>
          </a:bodyPr>
          <a:lstStyle>
            <a:lvl1pPr marL="0" indent="0" algn="l" rtl="0">
              <a:buNone/>
              <a:defRPr lang="en-US" sz="3200" b="1" kern="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he-IL" sz="3200" b="1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043608" y="2492896"/>
            <a:ext cx="370646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9600" dirty="0" smtClean="0">
                <a:solidFill>
                  <a:schemeClr val="bg1">
                    <a:lumMod val="65000"/>
                  </a:schemeClr>
                </a:solidFill>
                <a:latin typeface="Segoe UI Symbol" pitchFamily="34" charset="0"/>
                <a:ea typeface="Segoe UI Symbol" pitchFamily="34" charset="0"/>
              </a:rPr>
              <a:t>DEMO</a:t>
            </a:r>
            <a:endParaRPr lang="en-US" sz="9600" b="1" kern="0" dirty="0" smtClean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7232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43608" y="4077072"/>
            <a:ext cx="7632848" cy="653264"/>
          </a:xfrm>
        </p:spPr>
        <p:txBody>
          <a:bodyPr>
            <a:noAutofit/>
          </a:bodyPr>
          <a:lstStyle>
            <a:lvl1pPr marL="0" indent="0" algn="l" rtl="0">
              <a:buNone/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he-IL" sz="3200" b="1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33258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43608" y="4077072"/>
            <a:ext cx="7632848" cy="653264"/>
          </a:xfrm>
        </p:spPr>
        <p:txBody>
          <a:bodyPr>
            <a:noAutofit/>
          </a:bodyPr>
          <a:lstStyle>
            <a:lvl1pPr marL="0" indent="0" algn="l" rtl="0">
              <a:buNone/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he-IL" sz="3200" b="1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64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43608" y="4077072"/>
            <a:ext cx="7632848" cy="653264"/>
          </a:xfrm>
        </p:spPr>
        <p:txBody>
          <a:bodyPr>
            <a:noAutofit/>
          </a:bodyPr>
          <a:lstStyle>
            <a:lvl1pPr marL="0" indent="0" algn="l" rtl="0">
              <a:buNone/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3200" b="1" kern="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he-IL" sz="3200" b="1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585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44562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solidFill>
                  <a:srgbClr val="ED92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37960"/>
            <a:ext cx="9144000" cy="320040"/>
          </a:xfrm>
          <a:prstGeom prst="rect">
            <a:avLst/>
          </a:prstGeom>
          <a:solidFill>
            <a:srgbClr val="ED9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411480" y="1219200"/>
            <a:ext cx="8321040" cy="5638800"/>
          </a:xfrm>
          <a:prstGeom prst="rect">
            <a:avLst/>
          </a:prstGeom>
          <a:solidFill>
            <a:srgbClr val="ECEE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695" y="6373395"/>
            <a:ext cx="1773555" cy="35337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619425" y="6425400"/>
            <a:ext cx="15840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www.devreach.com</a:t>
            </a:r>
            <a:endParaRPr lang="en-US" sz="1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15419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303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46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535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695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en-US">
                <a:solidFill>
                  <a:srgbClr val="ED9208"/>
                </a:solidFill>
              </a:defRPr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78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053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515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087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6B7B93-49B3-449D-9311-6E10868C397C}" type="datetimeFigureOut">
              <a:rPr lang="en-US" smtClean="0"/>
              <a:t>10/4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2E3DC-6D37-4E62-A6A3-E38488FB07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568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image" Target="../media/image11.png"/><Relationship Id="rId3" Type="http://schemas.openxmlformats.org/officeDocument/2006/relationships/tags" Target="../tags/tag24.xml"/><Relationship Id="rId21" Type="http://schemas.openxmlformats.org/officeDocument/2006/relationships/image" Target="../media/image6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image" Target="../media/image10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image" Target="../media/image9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image" Target="../media/image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image" Target="../media/image7.png"/><Relationship Id="rId27" Type="http://schemas.openxmlformats.org/officeDocument/2006/relationships/image" Target="../media/image1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blogs.msdn.com/b/endpoint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11.png"/><Relationship Id="rId3" Type="http://schemas.openxmlformats.org/officeDocument/2006/relationships/tags" Target="../tags/tag5.xml"/><Relationship Id="rId21" Type="http://schemas.openxmlformats.org/officeDocument/2006/relationships/image" Target="../media/image6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10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9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8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7.png"/><Relationship Id="rId27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5334000"/>
            <a:ext cx="9144000" cy="1524000"/>
          </a:xfrm>
          <a:prstGeom prst="rect">
            <a:avLst/>
          </a:prstGeom>
          <a:solidFill>
            <a:srgbClr val="ECEE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219200"/>
            <a:ext cx="7543800" cy="2438400"/>
          </a:xfrm>
        </p:spPr>
        <p:txBody>
          <a:bodyPr>
            <a:noAutofit/>
          </a:bodyPr>
          <a:lstStyle/>
          <a:p>
            <a:pPr algn="l"/>
            <a:r>
              <a:rPr lang="en-US" dirty="0">
                <a:solidFill>
                  <a:srgbClr val="ED9208"/>
                </a:solidFill>
                <a:latin typeface="News Gothic Com Thin" pitchFamily="34" charset="0"/>
              </a:rPr>
              <a:t>Building web applications with the Windows Azure Platfor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8756" y="5469064"/>
            <a:ext cx="6659508" cy="96436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ts val="3400"/>
              </a:lnSpc>
            </a:pPr>
            <a:r>
              <a:rPr lang="en-US" sz="3000" dirty="0">
                <a:solidFill>
                  <a:srgbClr val="ED9208"/>
                </a:solidFill>
                <a:latin typeface="News Gothic Com Thin" pitchFamily="34" charset="0"/>
              </a:rPr>
              <a:t>Ido </a:t>
            </a:r>
            <a:r>
              <a:rPr lang="en-US" sz="3000" dirty="0" smtClean="0">
                <a:solidFill>
                  <a:srgbClr val="ED9208"/>
                </a:solidFill>
                <a:latin typeface="News Gothic Com Thin" pitchFamily="34" charset="0"/>
              </a:rPr>
              <a:t>Flatow | </a:t>
            </a:r>
            <a:r>
              <a:rPr lang="en-US" sz="3000" dirty="0">
                <a:solidFill>
                  <a:srgbClr val="ED9208"/>
                </a:solidFill>
                <a:latin typeface="News Gothic Com Thin" pitchFamily="34" charset="0"/>
              </a:rPr>
              <a:t>Senior </a:t>
            </a:r>
            <a:r>
              <a:rPr lang="en-US" sz="3000" dirty="0" smtClean="0">
                <a:solidFill>
                  <a:srgbClr val="ED9208"/>
                </a:solidFill>
                <a:latin typeface="News Gothic Com Thin" pitchFamily="34" charset="0"/>
              </a:rPr>
              <a:t>Architect | </a:t>
            </a:r>
            <a:r>
              <a:rPr lang="en-US" sz="3000" dirty="0">
                <a:solidFill>
                  <a:srgbClr val="ED9208"/>
                </a:solidFill>
                <a:latin typeface="News Gothic Com Thin" pitchFamily="34" charset="0"/>
              </a:rPr>
              <a:t>Sela Group</a:t>
            </a:r>
          </a:p>
          <a:p>
            <a:pPr>
              <a:lnSpc>
                <a:spcPts val="3400"/>
              </a:lnSpc>
            </a:pPr>
            <a:r>
              <a:rPr lang="en-US" sz="3000" dirty="0" smtClean="0">
                <a:solidFill>
                  <a:srgbClr val="ED9208"/>
                </a:solidFill>
                <a:latin typeface="News Gothic Com Thin" pitchFamily="34" charset="0"/>
              </a:rPr>
              <a:t>@</a:t>
            </a:r>
            <a:r>
              <a:rPr lang="en-US" sz="3000" dirty="0" err="1" smtClean="0">
                <a:solidFill>
                  <a:srgbClr val="ED9208"/>
                </a:solidFill>
                <a:latin typeface="News Gothic Com Thin" pitchFamily="34" charset="0"/>
              </a:rPr>
              <a:t>idoFlatow</a:t>
            </a:r>
            <a:r>
              <a:rPr lang="en-US" sz="3000" dirty="0" smtClean="0">
                <a:solidFill>
                  <a:srgbClr val="ED9208"/>
                </a:solidFill>
                <a:latin typeface="News Gothic Com Thin" pitchFamily="34" charset="0"/>
              </a:rPr>
              <a:t> | http</a:t>
            </a:r>
            <a:r>
              <a:rPr lang="en-US" sz="3000" dirty="0">
                <a:solidFill>
                  <a:srgbClr val="ED9208"/>
                </a:solidFill>
                <a:latin typeface="News Gothic Com Thin" pitchFamily="34" charset="0"/>
              </a:rPr>
              <a:t>://bit.ly/flatowblo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737" y="5918457"/>
            <a:ext cx="2406968" cy="479584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6537960"/>
            <a:ext cx="9144000" cy="320040"/>
          </a:xfrm>
          <a:prstGeom prst="rect">
            <a:avLst/>
          </a:prstGeom>
          <a:solidFill>
            <a:srgbClr val="ED9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5631012" y="0"/>
            <a:ext cx="3512988" cy="83671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This session is available at:</a:t>
            </a:r>
          </a:p>
          <a:p>
            <a:pPr algn="ctr"/>
            <a:r>
              <a:rPr lang="en-US" dirty="0">
                <a:solidFill>
                  <a:schemeClr val="bg1"/>
                </a:solidFill>
                <a:ea typeface="Arial" charset="0"/>
                <a:cs typeface="Arial" charset="0"/>
              </a:rPr>
              <a:t>http://</a:t>
            </a:r>
            <a:r>
              <a:rPr lang="en-US" dirty="0" smtClean="0">
                <a:solidFill>
                  <a:schemeClr val="bg1"/>
                </a:solidFill>
                <a:ea typeface="Arial" charset="0"/>
                <a:cs typeface="Arial" charset="0"/>
              </a:rPr>
              <a:t>bit.ly/devreach-2012-idof</a:t>
            </a:r>
            <a:endParaRPr lang="en-US" dirty="0">
              <a:solidFill>
                <a:schemeClr val="bg1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894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IIS Support</a:t>
            </a:r>
            <a:endParaRPr lang="he-IL" dirty="0"/>
          </a:p>
        </p:txBody>
      </p:sp>
      <p:sp>
        <p:nvSpPr>
          <p:cNvPr id="12291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Why?</a:t>
            </a:r>
          </a:p>
          <a:p>
            <a:pPr lvl="1"/>
            <a:r>
              <a:rPr lang="en-US" dirty="0" smtClean="0"/>
              <a:t>Use more IIS features, such as ARR and WAS support for WCF</a:t>
            </a:r>
          </a:p>
          <a:p>
            <a:pPr lvl="1"/>
            <a:r>
              <a:rPr lang="en-US" dirty="0" smtClean="0"/>
              <a:t>Allows deploying multiple web sites in one Web Role</a:t>
            </a:r>
          </a:p>
          <a:p>
            <a:r>
              <a:rPr lang="en-US" dirty="0" smtClean="0"/>
              <a:t>How?</a:t>
            </a:r>
          </a:p>
          <a:p>
            <a:pPr lvl="1"/>
            <a:r>
              <a:rPr lang="en-US" dirty="0" smtClean="0"/>
              <a:t>Full IIS is the default setting for Web Roles</a:t>
            </a:r>
          </a:p>
          <a:p>
            <a:pPr lvl="1"/>
            <a:r>
              <a:rPr lang="en-US" dirty="0" smtClean="0"/>
              <a:t>Configure IIS in the </a:t>
            </a:r>
            <a:r>
              <a:rPr lang="en-US" dirty="0" err="1" smtClean="0"/>
              <a:t>Web.Config’s</a:t>
            </a:r>
            <a:r>
              <a:rPr lang="en-US" dirty="0" smtClean="0"/>
              <a:t> &lt;</a:t>
            </a:r>
            <a:r>
              <a:rPr lang="en-US" dirty="0" err="1" smtClean="0"/>
              <a:t>system.webServer</a:t>
            </a:r>
            <a:r>
              <a:rPr lang="en-US" dirty="0" smtClean="0"/>
              <a:t>&gt;</a:t>
            </a:r>
          </a:p>
          <a:p>
            <a:pPr lvl="1"/>
            <a:r>
              <a:rPr lang="en-US" dirty="0" smtClean="0"/>
              <a:t>Add startup tasks to change global IIS settings</a:t>
            </a:r>
          </a:p>
          <a:p>
            <a:r>
              <a:rPr lang="en-US" dirty="0" smtClean="0"/>
              <a:t>Caveats</a:t>
            </a:r>
          </a:p>
          <a:p>
            <a:pPr lvl="1"/>
            <a:r>
              <a:rPr lang="en-US" dirty="0" smtClean="0"/>
              <a:t>Default server version is W2K8 Server SP2, not R2</a:t>
            </a:r>
          </a:p>
          <a:p>
            <a:pPr lvl="1"/>
            <a:r>
              <a:rPr lang="en-US" dirty="0" smtClean="0"/>
              <a:t>Some IIS settings require elevated startup tasks and restarting IIS</a:t>
            </a:r>
          </a:p>
        </p:txBody>
      </p:sp>
    </p:spTree>
    <p:extLst>
      <p:ext uri="{BB962C8B-B14F-4D97-AF65-F5344CB8AC3E}">
        <p14:creationId xmlns:p14="http://schemas.microsoft.com/office/powerpoint/2010/main" val="238513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ndows Azure Diagnostics</a:t>
            </a:r>
            <a:endParaRPr lang="he-IL" dirty="0"/>
          </a:p>
        </p:txBody>
      </p:sp>
      <p:sp>
        <p:nvSpPr>
          <p:cNvPr id="12291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Why?</a:t>
            </a:r>
          </a:p>
          <a:p>
            <a:pPr lvl="1"/>
            <a:r>
              <a:rPr lang="en-US" dirty="0" smtClean="0"/>
              <a:t>Azure diagnostics allows collecting and centralizing diagnostic data from servers</a:t>
            </a:r>
          </a:p>
          <a:p>
            <a:pPr lvl="1"/>
            <a:r>
              <a:rPr lang="en-US" dirty="0" smtClean="0"/>
              <a:t>WAD can collect various sources, such as event viewer logs, IIS logs, and any custom log file you create</a:t>
            </a:r>
          </a:p>
          <a:p>
            <a:r>
              <a:rPr lang="en-US" dirty="0" smtClean="0"/>
              <a:t>How?</a:t>
            </a:r>
          </a:p>
          <a:p>
            <a:pPr lvl="1"/>
            <a:r>
              <a:rPr lang="en-US" dirty="0" smtClean="0"/>
              <a:t>Configure collected sources and scheduling either in code or configuration</a:t>
            </a:r>
          </a:p>
          <a:p>
            <a:pPr lvl="1"/>
            <a:r>
              <a:rPr lang="en-US" dirty="0" smtClean="0"/>
              <a:t>Pick a tool for viewing collected diagnostics data</a:t>
            </a:r>
          </a:p>
          <a:p>
            <a:r>
              <a:rPr lang="en-US" dirty="0" smtClean="0"/>
              <a:t>Caveats</a:t>
            </a:r>
          </a:p>
          <a:p>
            <a:pPr lvl="1"/>
            <a:r>
              <a:rPr lang="en-US" dirty="0" smtClean="0"/>
              <a:t>Lack of Microsoft tools for viewing event logs and performance counters</a:t>
            </a:r>
          </a:p>
          <a:p>
            <a:pPr lvl="1"/>
            <a:r>
              <a:rPr lang="en-US" dirty="0" smtClean="0"/>
              <a:t>Sorting out the collected data takes some time</a:t>
            </a:r>
          </a:p>
        </p:txBody>
      </p:sp>
    </p:spTree>
    <p:extLst>
      <p:ext uri="{BB962C8B-B14F-4D97-AF65-F5344CB8AC3E}">
        <p14:creationId xmlns:p14="http://schemas.microsoft.com/office/powerpoint/2010/main" val="218489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ing Secured, Scalable, </a:t>
            </a:r>
            <a:br>
              <a:rPr lang="en-US" dirty="0"/>
            </a:br>
            <a:r>
              <a:rPr lang="en-US" dirty="0"/>
              <a:t>Low-latency Web Applications with the Windows Azure Platform</a:t>
            </a:r>
            <a:endParaRPr lang="he-IL" dirty="0" smtClean="0"/>
          </a:p>
        </p:txBody>
      </p:sp>
    </p:spTree>
    <p:extLst>
      <p:ext uri="{BB962C8B-B14F-4D97-AF65-F5344CB8AC3E}">
        <p14:creationId xmlns:p14="http://schemas.microsoft.com/office/powerpoint/2010/main" val="20748146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defRPr/>
            </a:pPr>
            <a:r>
              <a:rPr lang="en-US" dirty="0" smtClean="0"/>
              <a:t>Windows Azure Caching</a:t>
            </a:r>
            <a:endParaRPr lang="he-IL" dirty="0"/>
          </a:p>
        </p:txBody>
      </p:sp>
      <p:sp>
        <p:nvSpPr>
          <p:cNvPr id="14339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mtClean="0"/>
              <a:t>Why?</a:t>
            </a:r>
          </a:p>
          <a:p>
            <a:pPr lvl="1"/>
            <a:r>
              <a:rPr lang="en-US" smtClean="0"/>
              <a:t>In-memory storage, such as cache ans session state isn’t suitable for web farms</a:t>
            </a:r>
          </a:p>
          <a:p>
            <a:pPr lvl="1"/>
            <a:r>
              <a:rPr lang="en-US" smtClean="0"/>
              <a:t>Azure caching provides better performance and feature than Windows Azure AppFabric Cache</a:t>
            </a:r>
          </a:p>
          <a:p>
            <a:r>
              <a:rPr lang="en-US" smtClean="0"/>
              <a:t>How?</a:t>
            </a:r>
          </a:p>
          <a:p>
            <a:pPr lvl="1"/>
            <a:r>
              <a:rPr lang="en-US" smtClean="0"/>
              <a:t>Create a new cache worker role</a:t>
            </a:r>
          </a:p>
          <a:p>
            <a:pPr lvl="1"/>
            <a:r>
              <a:rPr lang="en-US" smtClean="0"/>
              <a:t>Configure session state and output cache to use the distributed cache provider</a:t>
            </a:r>
          </a:p>
          <a:p>
            <a:r>
              <a:rPr lang="en-US" smtClean="0"/>
              <a:t>Caveats</a:t>
            </a:r>
          </a:p>
          <a:p>
            <a:pPr lvl="1"/>
            <a:r>
              <a:rPr lang="en-US" smtClean="0"/>
              <a:t>Not that I’ve seen (currently…)</a:t>
            </a:r>
          </a:p>
        </p:txBody>
      </p:sp>
      <p:grpSp>
        <p:nvGrpSpPr>
          <p:cNvPr id="10" name="Group 35"/>
          <p:cNvGrpSpPr>
            <a:grpSpLocks/>
          </p:cNvGrpSpPr>
          <p:nvPr/>
        </p:nvGrpSpPr>
        <p:grpSpPr bwMode="auto">
          <a:xfrm>
            <a:off x="7721600" y="8384"/>
            <a:ext cx="1422400" cy="1401762"/>
            <a:chOff x="3671322" y="4341709"/>
            <a:chExt cx="1896557" cy="1772642"/>
          </a:xfrm>
        </p:grpSpPr>
        <p:sp>
          <p:nvSpPr>
            <p:cNvPr id="12" name="Rectangle 25"/>
            <p:cNvSpPr/>
            <p:nvPr/>
          </p:nvSpPr>
          <p:spPr bwMode="auto">
            <a:xfrm>
              <a:off x="3671322" y="4341709"/>
              <a:ext cx="1896557" cy="1772642"/>
            </a:xfrm>
            <a:prstGeom prst="rect">
              <a:avLst/>
            </a:prstGeom>
            <a:solidFill>
              <a:srgbClr val="000099"/>
            </a:solidFill>
            <a:ln w="25400" cap="flat" cmpd="sng" algn="ctr">
              <a:solidFill>
                <a:srgbClr val="000099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tIns="91440" rIns="91436" bIns="91440" anchor="b"/>
            <a:lstStyle/>
            <a:p>
              <a:pPr marL="0" marR="0" lvl="0" indent="0" defTabSz="91409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ching</a:t>
              </a:r>
            </a:p>
          </p:txBody>
        </p:sp>
        <p:pic>
          <p:nvPicPr>
            <p:cNvPr id="13" name="Picture 4" descr="C:\Users\Jonahs\Dropbox\Projects SCOTT\MEET Windows Azure\source\Background\tile-icon-cache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4643082"/>
              <a:ext cx="851488" cy="85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559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ing Secured, Scalable, </a:t>
            </a:r>
            <a:br>
              <a:rPr lang="en-US" dirty="0"/>
            </a:br>
            <a:r>
              <a:rPr lang="en-US" dirty="0"/>
              <a:t>Low-latency Web Applications with the Windows Azure Platform</a:t>
            </a:r>
            <a:endParaRPr lang="he-IL" dirty="0" smtClean="0"/>
          </a:p>
        </p:txBody>
      </p:sp>
    </p:spTree>
    <p:extLst>
      <p:ext uri="{BB962C8B-B14F-4D97-AF65-F5344CB8AC3E}">
        <p14:creationId xmlns:p14="http://schemas.microsoft.com/office/powerpoint/2010/main" val="20748146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Identity, ACS, and WIF</a:t>
            </a:r>
            <a:endParaRPr lang="he-IL" dirty="0"/>
          </a:p>
        </p:txBody>
      </p:sp>
      <p:sp>
        <p:nvSpPr>
          <p:cNvPr id="16387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mtClean="0"/>
              <a:t>Why?</a:t>
            </a:r>
          </a:p>
          <a:p>
            <a:pPr lvl="1"/>
            <a:r>
              <a:rPr lang="en-US" smtClean="0"/>
              <a:t>Integrate web application with popular identity providers</a:t>
            </a:r>
          </a:p>
          <a:p>
            <a:pPr lvl="1"/>
            <a:r>
              <a:rPr lang="en-US" smtClean="0"/>
              <a:t>No need to self-manage users and password</a:t>
            </a:r>
          </a:p>
          <a:p>
            <a:r>
              <a:rPr lang="en-US" smtClean="0"/>
              <a:t>How?</a:t>
            </a:r>
          </a:p>
          <a:p>
            <a:pPr lvl="1"/>
            <a:r>
              <a:rPr lang="en-US" smtClean="0"/>
              <a:t>Create access control settings in the ACS portal</a:t>
            </a:r>
          </a:p>
          <a:p>
            <a:pPr lvl="1"/>
            <a:r>
              <a:rPr lang="en-US" smtClean="0"/>
              <a:t>Use WIF to set the trust between the web application and ACS</a:t>
            </a:r>
          </a:p>
          <a:p>
            <a:r>
              <a:rPr lang="en-US" smtClean="0"/>
              <a:t>Caveats</a:t>
            </a:r>
          </a:p>
          <a:p>
            <a:pPr lvl="1"/>
            <a:r>
              <a:rPr lang="en-US" smtClean="0"/>
              <a:t>Multiple ACS configurations to use both local and cloud</a:t>
            </a:r>
          </a:p>
          <a:p>
            <a:pPr lvl="1"/>
            <a:r>
              <a:rPr lang="en-US" smtClean="0"/>
              <a:t>Some coding is required when using more than one server instance</a:t>
            </a:r>
          </a:p>
        </p:txBody>
      </p:sp>
      <p:grpSp>
        <p:nvGrpSpPr>
          <p:cNvPr id="11" name="Group 5"/>
          <p:cNvGrpSpPr>
            <a:grpSpLocks/>
          </p:cNvGrpSpPr>
          <p:nvPr/>
        </p:nvGrpSpPr>
        <p:grpSpPr bwMode="auto">
          <a:xfrm>
            <a:off x="7721600" y="-124"/>
            <a:ext cx="1422400" cy="1401762"/>
            <a:chOff x="9645631" y="2476591"/>
            <a:chExt cx="1896557" cy="1772642"/>
          </a:xfrm>
        </p:grpSpPr>
        <p:sp>
          <p:nvSpPr>
            <p:cNvPr id="12" name="Rectangle 22"/>
            <p:cNvSpPr/>
            <p:nvPr/>
          </p:nvSpPr>
          <p:spPr bwMode="auto">
            <a:xfrm>
              <a:off x="9645631" y="2476591"/>
              <a:ext cx="1896557" cy="1772642"/>
            </a:xfrm>
            <a:prstGeom prst="rect">
              <a:avLst/>
            </a:prstGeom>
            <a:solidFill>
              <a:srgbClr val="000099"/>
            </a:solidFill>
            <a:ln w="25400" cap="flat" cmpd="sng" algn="ctr">
              <a:solidFill>
                <a:srgbClr val="000099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tIns="91440" rIns="91436" bIns="91440" anchor="b"/>
            <a:lstStyle/>
            <a:p>
              <a:pPr marL="0" marR="0" lvl="0" indent="0" defTabSz="91409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ty</a:t>
              </a:r>
            </a:p>
          </p:txBody>
        </p:sp>
        <p:pic>
          <p:nvPicPr>
            <p:cNvPr id="13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165" y="2705562"/>
              <a:ext cx="851488" cy="85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0424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ing Secured, Scalable, </a:t>
            </a:r>
            <a:br>
              <a:rPr lang="en-US" dirty="0"/>
            </a:br>
            <a:r>
              <a:rPr lang="en-US" dirty="0"/>
              <a:t>Low-latency Web Applications with the Windows Azure Platform</a:t>
            </a:r>
            <a:endParaRPr lang="he-IL" dirty="0" smtClean="0"/>
          </a:p>
        </p:txBody>
      </p:sp>
    </p:spTree>
    <p:extLst>
      <p:ext uri="{BB962C8B-B14F-4D97-AF65-F5344CB8AC3E}">
        <p14:creationId xmlns:p14="http://schemas.microsoft.com/office/powerpoint/2010/main" val="20748146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מלבן מעוגל 227"/>
          <p:cNvSpPr/>
          <p:nvPr/>
        </p:nvSpPr>
        <p:spPr bwMode="auto">
          <a:xfrm>
            <a:off x="211801" y="1393372"/>
            <a:ext cx="8708571" cy="5341258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>
            <a:reflection endPos="0" dir="5400000" sy="-100000" algn="bl" rotWithShape="0"/>
          </a:effectLst>
        </p:spPr>
        <p:txBody>
          <a:bodyPr rtlCol="1"/>
          <a:lstStyle/>
          <a:p>
            <a:pPr>
              <a:defRPr/>
            </a:pPr>
            <a:endParaRPr lang="he-IL">
              <a:cs typeface="+mn-cs"/>
            </a:endParaRPr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solidFill>
                  <a:srgbClr val="ED9208"/>
                </a:solidFill>
              </a:rPr>
              <a:t>Cloud-based Web Application</a:t>
            </a:r>
            <a:br>
              <a:rPr lang="en-US" dirty="0">
                <a:solidFill>
                  <a:srgbClr val="ED9208"/>
                </a:solidFill>
              </a:rPr>
            </a:br>
            <a:r>
              <a:rPr lang="en-US" dirty="0">
                <a:solidFill>
                  <a:srgbClr val="ED9208"/>
                </a:solidFill>
              </a:rPr>
              <a:t>Architectural Overview</a:t>
            </a:r>
            <a:endParaRPr lang="he-IL" dirty="0">
              <a:solidFill>
                <a:srgbClr val="ED9208"/>
              </a:solidFill>
            </a:endParaRPr>
          </a:p>
        </p:txBody>
      </p:sp>
      <p:cxnSp>
        <p:nvCxnSpPr>
          <p:cNvPr id="153" name="Straight Arrow Connector 44"/>
          <p:cNvCxnSpPr>
            <a:stCxn id="161" idx="2"/>
          </p:cNvCxnSpPr>
          <p:nvPr>
            <p:custDataLst>
              <p:tags r:id="rId1"/>
            </p:custDataLst>
          </p:nvPr>
        </p:nvCxnSpPr>
        <p:spPr>
          <a:xfrm flipH="1">
            <a:off x="5854700" y="5626100"/>
            <a:ext cx="585788" cy="4111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4" name="Straight Arrow Connector 45"/>
          <p:cNvCxnSpPr/>
          <p:nvPr>
            <p:custDataLst>
              <p:tags r:id="rId2"/>
            </p:custDataLst>
          </p:nvPr>
        </p:nvCxnSpPr>
        <p:spPr>
          <a:xfrm flipV="1">
            <a:off x="1658938" y="3540125"/>
            <a:ext cx="857250" cy="5000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7" name="Straight Arrow Connector 52"/>
          <p:cNvCxnSpPr>
            <a:endCxn id="170" idx="1"/>
          </p:cNvCxnSpPr>
          <p:nvPr>
            <p:custDataLst>
              <p:tags r:id="rId3"/>
            </p:custDataLst>
          </p:nvPr>
        </p:nvCxnSpPr>
        <p:spPr>
          <a:xfrm flipV="1">
            <a:off x="6037263" y="4870450"/>
            <a:ext cx="1060450" cy="23495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8" name="Straight Arrow Connector 56"/>
          <p:cNvCxnSpPr>
            <a:stCxn id="201" idx="10"/>
            <a:endCxn id="183" idx="4"/>
          </p:cNvCxnSpPr>
          <p:nvPr>
            <p:custDataLst>
              <p:tags r:id="rId4"/>
            </p:custDataLst>
          </p:nvPr>
        </p:nvCxnSpPr>
        <p:spPr>
          <a:xfrm>
            <a:off x="6037263" y="5283200"/>
            <a:ext cx="1103312" cy="3349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61" name="Rounded Rectangle 22"/>
          <p:cNvSpPr/>
          <p:nvPr>
            <p:custDataLst>
              <p:tags r:id="rId5"/>
            </p:custDataLst>
          </p:nvPr>
        </p:nvSpPr>
        <p:spPr>
          <a:xfrm>
            <a:off x="6353175" y="4781550"/>
            <a:ext cx="174625" cy="844550"/>
          </a:xfrm>
          <a:prstGeom prst="roundRect">
            <a:avLst/>
          </a:prstGeom>
          <a:solidFill>
            <a:srgbClr val="00AEEF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893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2516188" y="2568575"/>
            <a:ext cx="1528762" cy="1023938"/>
            <a:chOff x="2516465" y="2568920"/>
            <a:chExt cx="1528154" cy="1024238"/>
          </a:xfrm>
        </p:grpSpPr>
        <p:sp>
          <p:nvSpPr>
            <p:cNvPr id="138" name="Freeform 6"/>
            <p:cNvSpPr>
              <a:spLocks/>
            </p:cNvSpPr>
            <p:nvPr/>
          </p:nvSpPr>
          <p:spPr bwMode="auto">
            <a:xfrm>
              <a:off x="2516465" y="2568920"/>
              <a:ext cx="1528154" cy="102423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</p:spPr>
          <p:txBody>
            <a:bodyPr lIns="274320" tIns="27432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CDN</a:t>
              </a:r>
              <a:endParaRPr lang="en-US" sz="2000" kern="0" dirty="0">
                <a:latin typeface="+mj-lt"/>
                <a:cs typeface="+mn-cs"/>
              </a:endParaRPr>
            </a:p>
          </p:txBody>
        </p:sp>
        <p:sp>
          <p:nvSpPr>
            <p:cNvPr id="162" name="Freeform 6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black">
            <a:xfrm>
              <a:off x="3317833" y="2646731"/>
              <a:ext cx="407826" cy="408107"/>
            </a:xfrm>
            <a:custGeom>
              <a:avLst/>
              <a:gdLst>
                <a:gd name="T0" fmla="*/ 189 w 189"/>
                <a:gd name="T1" fmla="*/ 94 h 189"/>
                <a:gd name="T2" fmla="*/ 0 w 189"/>
                <a:gd name="T3" fmla="*/ 94 h 189"/>
                <a:gd name="T4" fmla="*/ 129 w 189"/>
                <a:gd name="T5" fmla="*/ 172 h 189"/>
                <a:gd name="T6" fmla="*/ 124 w 189"/>
                <a:gd name="T7" fmla="*/ 123 h 189"/>
                <a:gd name="T8" fmla="*/ 123 w 189"/>
                <a:gd name="T9" fmla="*/ 84 h 189"/>
                <a:gd name="T10" fmla="*/ 140 w 189"/>
                <a:gd name="T11" fmla="*/ 85 h 189"/>
                <a:gd name="T12" fmla="*/ 152 w 189"/>
                <a:gd name="T13" fmla="*/ 89 h 189"/>
                <a:gd name="T14" fmla="*/ 158 w 189"/>
                <a:gd name="T15" fmla="*/ 84 h 189"/>
                <a:gd name="T16" fmla="*/ 152 w 189"/>
                <a:gd name="T17" fmla="*/ 82 h 189"/>
                <a:gd name="T18" fmla="*/ 146 w 189"/>
                <a:gd name="T19" fmla="*/ 78 h 189"/>
                <a:gd name="T20" fmla="*/ 139 w 189"/>
                <a:gd name="T21" fmla="*/ 74 h 189"/>
                <a:gd name="T22" fmla="*/ 128 w 189"/>
                <a:gd name="T23" fmla="*/ 80 h 189"/>
                <a:gd name="T24" fmla="*/ 121 w 189"/>
                <a:gd name="T25" fmla="*/ 72 h 189"/>
                <a:gd name="T26" fmla="*/ 132 w 189"/>
                <a:gd name="T27" fmla="*/ 59 h 189"/>
                <a:gd name="T28" fmla="*/ 140 w 189"/>
                <a:gd name="T29" fmla="*/ 57 h 189"/>
                <a:gd name="T30" fmla="*/ 149 w 189"/>
                <a:gd name="T31" fmla="*/ 52 h 189"/>
                <a:gd name="T32" fmla="*/ 148 w 189"/>
                <a:gd name="T33" fmla="*/ 44 h 189"/>
                <a:gd name="T34" fmla="*/ 144 w 189"/>
                <a:gd name="T35" fmla="*/ 46 h 189"/>
                <a:gd name="T36" fmla="*/ 138 w 189"/>
                <a:gd name="T37" fmla="*/ 48 h 189"/>
                <a:gd name="T38" fmla="*/ 147 w 189"/>
                <a:gd name="T39" fmla="*/ 28 h 189"/>
                <a:gd name="T40" fmla="*/ 108 w 189"/>
                <a:gd name="T41" fmla="*/ 11 h 189"/>
                <a:gd name="T42" fmla="*/ 90 w 189"/>
                <a:gd name="T43" fmla="*/ 43 h 189"/>
                <a:gd name="T44" fmla="*/ 78 w 189"/>
                <a:gd name="T45" fmla="*/ 21 h 189"/>
                <a:gd name="T46" fmla="*/ 69 w 189"/>
                <a:gd name="T47" fmla="*/ 13 h 189"/>
                <a:gd name="T48" fmla="*/ 60 w 189"/>
                <a:gd name="T49" fmla="*/ 23 h 189"/>
                <a:gd name="T50" fmla="*/ 72 w 189"/>
                <a:gd name="T51" fmla="*/ 43 h 189"/>
                <a:gd name="T52" fmla="*/ 59 w 189"/>
                <a:gd name="T53" fmla="*/ 31 h 189"/>
                <a:gd name="T54" fmla="*/ 44 w 189"/>
                <a:gd name="T55" fmla="*/ 49 h 189"/>
                <a:gd name="T56" fmla="*/ 57 w 189"/>
                <a:gd name="T57" fmla="*/ 47 h 189"/>
                <a:gd name="T58" fmla="*/ 73 w 189"/>
                <a:gd name="T59" fmla="*/ 70 h 189"/>
                <a:gd name="T60" fmla="*/ 47 w 189"/>
                <a:gd name="T61" fmla="*/ 100 h 189"/>
                <a:gd name="T62" fmla="*/ 31 w 189"/>
                <a:gd name="T63" fmla="*/ 97 h 189"/>
                <a:gd name="T64" fmla="*/ 40 w 189"/>
                <a:gd name="T65" fmla="*/ 103 h 189"/>
                <a:gd name="T66" fmla="*/ 42 w 189"/>
                <a:gd name="T67" fmla="*/ 116 h 189"/>
                <a:gd name="T68" fmla="*/ 81 w 189"/>
                <a:gd name="T69" fmla="*/ 132 h 189"/>
                <a:gd name="T70" fmla="*/ 67 w 189"/>
                <a:gd name="T71" fmla="*/ 175 h 189"/>
                <a:gd name="T72" fmla="*/ 129 w 189"/>
                <a:gd name="T73" fmla="*/ 172 h 189"/>
                <a:gd name="T74" fmla="*/ 172 w 189"/>
                <a:gd name="T75" fmla="*/ 115 h 189"/>
                <a:gd name="T76" fmla="*/ 172 w 189"/>
                <a:gd name="T77" fmla="*/ 118 h 189"/>
                <a:gd name="T78" fmla="*/ 177 w 189"/>
                <a:gd name="T79" fmla="*/ 114 h 189"/>
                <a:gd name="T80" fmla="*/ 156 w 189"/>
                <a:gd name="T81" fmla="*/ 152 h 189"/>
                <a:gd name="T82" fmla="*/ 52 w 189"/>
                <a:gd name="T83" fmla="*/ 168 h 189"/>
                <a:gd name="T84" fmla="*/ 47 w 189"/>
                <a:gd name="T85" fmla="*/ 126 h 189"/>
                <a:gd name="T86" fmla="*/ 42 w 189"/>
                <a:gd name="T87" fmla="*/ 121 h 189"/>
                <a:gd name="T88" fmla="*/ 20 w 189"/>
                <a:gd name="T89" fmla="*/ 103 h 189"/>
                <a:gd name="T90" fmla="*/ 9 w 189"/>
                <a:gd name="T91" fmla="*/ 94 h 189"/>
                <a:gd name="T92" fmla="*/ 108 w 189"/>
                <a:gd name="T93" fmla="*/ 41 h 189"/>
                <a:gd name="T94" fmla="*/ 108 w 189"/>
                <a:gd name="T95" fmla="*/ 41 h 189"/>
                <a:gd name="T96" fmla="*/ 129 w 189"/>
                <a:gd name="T97" fmla="*/ 58 h 189"/>
                <a:gd name="T98" fmla="*/ 125 w 189"/>
                <a:gd name="T99" fmla="*/ 49 h 189"/>
                <a:gd name="T100" fmla="*/ 160 w 189"/>
                <a:gd name="T101" fmla="*/ 69 h 189"/>
                <a:gd name="T102" fmla="*/ 158 w 189"/>
                <a:gd name="T103" fmla="*/ 77 h 189"/>
                <a:gd name="T104" fmla="*/ 59 w 189"/>
                <a:gd name="T105" fmla="*/ 106 h 189"/>
                <a:gd name="T106" fmla="*/ 46 w 189"/>
                <a:gd name="T107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9" h="189">
                  <a:moveTo>
                    <a:pt x="94" y="0"/>
                  </a:moveTo>
                  <a:cubicBezTo>
                    <a:pt x="146" y="0"/>
                    <a:pt x="189" y="42"/>
                    <a:pt x="189" y="94"/>
                  </a:cubicBezTo>
                  <a:cubicBezTo>
                    <a:pt x="189" y="147"/>
                    <a:pt x="146" y="189"/>
                    <a:pt x="94" y="189"/>
                  </a:cubicBez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4" y="0"/>
                  </a:cubicBezTo>
                  <a:close/>
                  <a:moveTo>
                    <a:pt x="129" y="172"/>
                  </a:moveTo>
                  <a:cubicBezTo>
                    <a:pt x="126" y="156"/>
                    <a:pt x="135" y="129"/>
                    <a:pt x="130" y="124"/>
                  </a:cubicBezTo>
                  <a:cubicBezTo>
                    <a:pt x="128" y="123"/>
                    <a:pt x="126" y="122"/>
                    <a:pt x="124" y="123"/>
                  </a:cubicBezTo>
                  <a:cubicBezTo>
                    <a:pt x="120" y="124"/>
                    <a:pt x="116" y="126"/>
                    <a:pt x="113" y="125"/>
                  </a:cubicBezTo>
                  <a:cubicBezTo>
                    <a:pt x="96" y="117"/>
                    <a:pt x="106" y="90"/>
                    <a:pt x="123" y="84"/>
                  </a:cubicBezTo>
                  <a:cubicBezTo>
                    <a:pt x="126" y="83"/>
                    <a:pt x="129" y="83"/>
                    <a:pt x="132" y="83"/>
                  </a:cubicBezTo>
                  <a:cubicBezTo>
                    <a:pt x="137" y="82"/>
                    <a:pt x="140" y="82"/>
                    <a:pt x="140" y="85"/>
                  </a:cubicBezTo>
                  <a:cubicBezTo>
                    <a:pt x="140" y="89"/>
                    <a:pt x="148" y="92"/>
                    <a:pt x="150" y="92"/>
                  </a:cubicBezTo>
                  <a:cubicBezTo>
                    <a:pt x="151" y="92"/>
                    <a:pt x="151" y="89"/>
                    <a:pt x="152" y="89"/>
                  </a:cubicBezTo>
                  <a:cubicBezTo>
                    <a:pt x="159" y="89"/>
                    <a:pt x="164" y="93"/>
                    <a:pt x="165" y="90"/>
                  </a:cubicBezTo>
                  <a:cubicBezTo>
                    <a:pt x="167" y="80"/>
                    <a:pt x="166" y="85"/>
                    <a:pt x="158" y="84"/>
                  </a:cubicBezTo>
                  <a:cubicBezTo>
                    <a:pt x="155" y="83"/>
                    <a:pt x="157" y="78"/>
                    <a:pt x="154" y="78"/>
                  </a:cubicBezTo>
                  <a:cubicBezTo>
                    <a:pt x="152" y="77"/>
                    <a:pt x="155" y="84"/>
                    <a:pt x="152" y="82"/>
                  </a:cubicBezTo>
                  <a:cubicBezTo>
                    <a:pt x="148" y="79"/>
                    <a:pt x="146" y="72"/>
                    <a:pt x="142" y="71"/>
                  </a:cubicBezTo>
                  <a:cubicBezTo>
                    <a:pt x="137" y="70"/>
                    <a:pt x="145" y="75"/>
                    <a:pt x="146" y="78"/>
                  </a:cubicBezTo>
                  <a:cubicBezTo>
                    <a:pt x="147" y="81"/>
                    <a:pt x="143" y="85"/>
                    <a:pt x="141" y="82"/>
                  </a:cubicBezTo>
                  <a:cubicBezTo>
                    <a:pt x="140" y="81"/>
                    <a:pt x="145" y="78"/>
                    <a:pt x="139" y="74"/>
                  </a:cubicBezTo>
                  <a:cubicBezTo>
                    <a:pt x="138" y="72"/>
                    <a:pt x="135" y="72"/>
                    <a:pt x="133" y="74"/>
                  </a:cubicBezTo>
                  <a:cubicBezTo>
                    <a:pt x="130" y="77"/>
                    <a:pt x="129" y="80"/>
                    <a:pt x="128" y="80"/>
                  </a:cubicBezTo>
                  <a:cubicBezTo>
                    <a:pt x="125" y="82"/>
                    <a:pt x="123" y="82"/>
                    <a:pt x="120" y="81"/>
                  </a:cubicBezTo>
                  <a:cubicBezTo>
                    <a:pt x="116" y="80"/>
                    <a:pt x="117" y="71"/>
                    <a:pt x="121" y="72"/>
                  </a:cubicBezTo>
                  <a:cubicBezTo>
                    <a:pt x="133" y="75"/>
                    <a:pt x="122" y="68"/>
                    <a:pt x="125" y="66"/>
                  </a:cubicBezTo>
                  <a:cubicBezTo>
                    <a:pt x="126" y="65"/>
                    <a:pt x="130" y="62"/>
                    <a:pt x="132" y="59"/>
                  </a:cubicBezTo>
                  <a:cubicBezTo>
                    <a:pt x="134" y="57"/>
                    <a:pt x="133" y="51"/>
                    <a:pt x="137" y="52"/>
                  </a:cubicBezTo>
                  <a:cubicBezTo>
                    <a:pt x="139" y="52"/>
                    <a:pt x="138" y="56"/>
                    <a:pt x="140" y="57"/>
                  </a:cubicBezTo>
                  <a:cubicBezTo>
                    <a:pt x="141" y="58"/>
                    <a:pt x="144" y="57"/>
                    <a:pt x="146" y="57"/>
                  </a:cubicBezTo>
                  <a:cubicBezTo>
                    <a:pt x="149" y="57"/>
                    <a:pt x="149" y="55"/>
                    <a:pt x="149" y="52"/>
                  </a:cubicBezTo>
                  <a:cubicBezTo>
                    <a:pt x="149" y="48"/>
                    <a:pt x="156" y="49"/>
                    <a:pt x="156" y="47"/>
                  </a:cubicBezTo>
                  <a:cubicBezTo>
                    <a:pt x="155" y="44"/>
                    <a:pt x="148" y="48"/>
                    <a:pt x="148" y="44"/>
                  </a:cubicBezTo>
                  <a:cubicBezTo>
                    <a:pt x="148" y="39"/>
                    <a:pt x="154" y="38"/>
                    <a:pt x="150" y="37"/>
                  </a:cubicBezTo>
                  <a:cubicBezTo>
                    <a:pt x="147" y="36"/>
                    <a:pt x="143" y="39"/>
                    <a:pt x="144" y="46"/>
                  </a:cubicBezTo>
                  <a:cubicBezTo>
                    <a:pt x="145" y="53"/>
                    <a:pt x="146" y="56"/>
                    <a:pt x="141" y="54"/>
                  </a:cubicBezTo>
                  <a:cubicBezTo>
                    <a:pt x="137" y="51"/>
                    <a:pt x="142" y="46"/>
                    <a:pt x="138" y="48"/>
                  </a:cubicBezTo>
                  <a:cubicBezTo>
                    <a:pt x="135" y="50"/>
                    <a:pt x="133" y="51"/>
                    <a:pt x="133" y="46"/>
                  </a:cubicBezTo>
                  <a:cubicBezTo>
                    <a:pt x="133" y="42"/>
                    <a:pt x="141" y="30"/>
                    <a:pt x="147" y="28"/>
                  </a:cubicBezTo>
                  <a:cubicBezTo>
                    <a:pt x="136" y="19"/>
                    <a:pt x="123" y="13"/>
                    <a:pt x="108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9"/>
                    <a:pt x="108" y="24"/>
                    <a:pt x="107" y="28"/>
                  </a:cubicBezTo>
                  <a:cubicBezTo>
                    <a:pt x="107" y="33"/>
                    <a:pt x="92" y="34"/>
                    <a:pt x="90" y="43"/>
                  </a:cubicBezTo>
                  <a:cubicBezTo>
                    <a:pt x="88" y="51"/>
                    <a:pt x="85" y="46"/>
                    <a:pt x="80" y="40"/>
                  </a:cubicBezTo>
                  <a:cubicBezTo>
                    <a:pt x="75" y="34"/>
                    <a:pt x="81" y="26"/>
                    <a:pt x="78" y="21"/>
                  </a:cubicBezTo>
                  <a:cubicBezTo>
                    <a:pt x="76" y="16"/>
                    <a:pt x="67" y="23"/>
                    <a:pt x="67" y="18"/>
                  </a:cubicBezTo>
                  <a:cubicBezTo>
                    <a:pt x="67" y="16"/>
                    <a:pt x="69" y="14"/>
                    <a:pt x="69" y="13"/>
                  </a:cubicBezTo>
                  <a:cubicBezTo>
                    <a:pt x="68" y="14"/>
                    <a:pt x="67" y="14"/>
                    <a:pt x="66" y="14"/>
                  </a:cubicBezTo>
                  <a:cubicBezTo>
                    <a:pt x="63" y="16"/>
                    <a:pt x="61" y="22"/>
                    <a:pt x="60" y="23"/>
                  </a:cubicBezTo>
                  <a:cubicBezTo>
                    <a:pt x="57" y="27"/>
                    <a:pt x="64" y="26"/>
                    <a:pt x="67" y="30"/>
                  </a:cubicBezTo>
                  <a:cubicBezTo>
                    <a:pt x="71" y="36"/>
                    <a:pt x="74" y="40"/>
                    <a:pt x="72" y="43"/>
                  </a:cubicBezTo>
                  <a:cubicBezTo>
                    <a:pt x="71" y="46"/>
                    <a:pt x="59" y="43"/>
                    <a:pt x="61" y="38"/>
                  </a:cubicBezTo>
                  <a:cubicBezTo>
                    <a:pt x="64" y="33"/>
                    <a:pt x="62" y="32"/>
                    <a:pt x="59" y="31"/>
                  </a:cubicBezTo>
                  <a:cubicBezTo>
                    <a:pt x="56" y="31"/>
                    <a:pt x="56" y="35"/>
                    <a:pt x="56" y="40"/>
                  </a:cubicBezTo>
                  <a:cubicBezTo>
                    <a:pt x="56" y="44"/>
                    <a:pt x="48" y="45"/>
                    <a:pt x="44" y="49"/>
                  </a:cubicBezTo>
                  <a:cubicBezTo>
                    <a:pt x="40" y="54"/>
                    <a:pt x="47" y="58"/>
                    <a:pt x="53" y="60"/>
                  </a:cubicBezTo>
                  <a:cubicBezTo>
                    <a:pt x="59" y="62"/>
                    <a:pt x="55" y="52"/>
                    <a:pt x="57" y="47"/>
                  </a:cubicBezTo>
                  <a:cubicBezTo>
                    <a:pt x="59" y="40"/>
                    <a:pt x="66" y="46"/>
                    <a:pt x="71" y="52"/>
                  </a:cubicBezTo>
                  <a:cubicBezTo>
                    <a:pt x="75" y="58"/>
                    <a:pt x="82" y="66"/>
                    <a:pt x="73" y="70"/>
                  </a:cubicBezTo>
                  <a:cubicBezTo>
                    <a:pt x="58" y="76"/>
                    <a:pt x="52" y="83"/>
                    <a:pt x="49" y="89"/>
                  </a:cubicBezTo>
                  <a:cubicBezTo>
                    <a:pt x="46" y="95"/>
                    <a:pt x="49" y="98"/>
                    <a:pt x="47" y="100"/>
                  </a:cubicBezTo>
                  <a:cubicBezTo>
                    <a:pt x="45" y="102"/>
                    <a:pt x="45" y="99"/>
                    <a:pt x="43" y="94"/>
                  </a:cubicBezTo>
                  <a:cubicBezTo>
                    <a:pt x="41" y="91"/>
                    <a:pt x="34" y="91"/>
                    <a:pt x="31" y="97"/>
                  </a:cubicBezTo>
                  <a:cubicBezTo>
                    <a:pt x="29" y="98"/>
                    <a:pt x="29" y="101"/>
                    <a:pt x="29" y="104"/>
                  </a:cubicBezTo>
                  <a:cubicBezTo>
                    <a:pt x="29" y="114"/>
                    <a:pt x="36" y="101"/>
                    <a:pt x="40" y="103"/>
                  </a:cubicBezTo>
                  <a:cubicBezTo>
                    <a:pt x="45" y="104"/>
                    <a:pt x="36" y="105"/>
                    <a:pt x="37" y="109"/>
                  </a:cubicBezTo>
                  <a:cubicBezTo>
                    <a:pt x="38" y="113"/>
                    <a:pt x="44" y="107"/>
                    <a:pt x="42" y="116"/>
                  </a:cubicBezTo>
                  <a:cubicBezTo>
                    <a:pt x="41" y="121"/>
                    <a:pt x="49" y="117"/>
                    <a:pt x="54" y="115"/>
                  </a:cubicBezTo>
                  <a:cubicBezTo>
                    <a:pt x="65" y="111"/>
                    <a:pt x="73" y="129"/>
                    <a:pt x="81" y="132"/>
                  </a:cubicBezTo>
                  <a:cubicBezTo>
                    <a:pt x="90" y="135"/>
                    <a:pt x="93" y="137"/>
                    <a:pt x="91" y="141"/>
                  </a:cubicBezTo>
                  <a:cubicBezTo>
                    <a:pt x="85" y="153"/>
                    <a:pt x="73" y="161"/>
                    <a:pt x="67" y="175"/>
                  </a:cubicBezTo>
                  <a:cubicBezTo>
                    <a:pt x="75" y="178"/>
                    <a:pt x="85" y="179"/>
                    <a:pt x="94" y="179"/>
                  </a:cubicBezTo>
                  <a:cubicBezTo>
                    <a:pt x="107" y="179"/>
                    <a:pt x="118" y="177"/>
                    <a:pt x="129" y="172"/>
                  </a:cubicBezTo>
                  <a:close/>
                  <a:moveTo>
                    <a:pt x="177" y="114"/>
                  </a:moveTo>
                  <a:cubicBezTo>
                    <a:pt x="175" y="114"/>
                    <a:pt x="173" y="115"/>
                    <a:pt x="172" y="115"/>
                  </a:cubicBezTo>
                  <a:cubicBezTo>
                    <a:pt x="167" y="113"/>
                    <a:pt x="170" y="93"/>
                    <a:pt x="163" y="94"/>
                  </a:cubicBezTo>
                  <a:cubicBezTo>
                    <a:pt x="160" y="95"/>
                    <a:pt x="165" y="110"/>
                    <a:pt x="172" y="118"/>
                  </a:cubicBezTo>
                  <a:cubicBezTo>
                    <a:pt x="173" y="119"/>
                    <a:pt x="174" y="118"/>
                    <a:pt x="176" y="118"/>
                  </a:cubicBezTo>
                  <a:cubicBezTo>
                    <a:pt x="176" y="117"/>
                    <a:pt x="177" y="115"/>
                    <a:pt x="177" y="114"/>
                  </a:cubicBezTo>
                  <a:close/>
                  <a:moveTo>
                    <a:pt x="172" y="128"/>
                  </a:moveTo>
                  <a:cubicBezTo>
                    <a:pt x="164" y="126"/>
                    <a:pt x="158" y="144"/>
                    <a:pt x="156" y="152"/>
                  </a:cubicBezTo>
                  <a:cubicBezTo>
                    <a:pt x="163" y="145"/>
                    <a:pt x="168" y="137"/>
                    <a:pt x="172" y="128"/>
                  </a:cubicBezTo>
                  <a:close/>
                  <a:moveTo>
                    <a:pt x="52" y="168"/>
                  </a:moveTo>
                  <a:cubicBezTo>
                    <a:pt x="53" y="160"/>
                    <a:pt x="54" y="151"/>
                    <a:pt x="52" y="150"/>
                  </a:cubicBezTo>
                  <a:cubicBezTo>
                    <a:pt x="45" y="144"/>
                    <a:pt x="40" y="135"/>
                    <a:pt x="47" y="126"/>
                  </a:cubicBezTo>
                  <a:cubicBezTo>
                    <a:pt x="48" y="125"/>
                    <a:pt x="49" y="124"/>
                    <a:pt x="49" y="122"/>
                  </a:cubicBezTo>
                  <a:cubicBezTo>
                    <a:pt x="50" y="119"/>
                    <a:pt x="47" y="121"/>
                    <a:pt x="42" y="121"/>
                  </a:cubicBezTo>
                  <a:cubicBezTo>
                    <a:pt x="37" y="121"/>
                    <a:pt x="41" y="113"/>
                    <a:pt x="31" y="112"/>
                  </a:cubicBezTo>
                  <a:cubicBezTo>
                    <a:pt x="21" y="111"/>
                    <a:pt x="21" y="109"/>
                    <a:pt x="20" y="103"/>
                  </a:cubicBezTo>
                  <a:cubicBezTo>
                    <a:pt x="20" y="97"/>
                    <a:pt x="14" y="91"/>
                    <a:pt x="9" y="90"/>
                  </a:cubicBezTo>
                  <a:cubicBezTo>
                    <a:pt x="9" y="91"/>
                    <a:pt x="9" y="93"/>
                    <a:pt x="9" y="94"/>
                  </a:cubicBezTo>
                  <a:cubicBezTo>
                    <a:pt x="9" y="126"/>
                    <a:pt x="27" y="154"/>
                    <a:pt x="52" y="168"/>
                  </a:cubicBezTo>
                  <a:close/>
                  <a:moveTo>
                    <a:pt x="108" y="41"/>
                  </a:moveTo>
                  <a:cubicBezTo>
                    <a:pt x="112" y="43"/>
                    <a:pt x="116" y="40"/>
                    <a:pt x="115" y="37"/>
                  </a:cubicBezTo>
                  <a:cubicBezTo>
                    <a:pt x="112" y="32"/>
                    <a:pt x="103" y="35"/>
                    <a:pt x="108" y="41"/>
                  </a:cubicBezTo>
                  <a:close/>
                  <a:moveTo>
                    <a:pt x="125" y="49"/>
                  </a:moveTo>
                  <a:cubicBezTo>
                    <a:pt x="128" y="49"/>
                    <a:pt x="130" y="55"/>
                    <a:pt x="129" y="58"/>
                  </a:cubicBezTo>
                  <a:cubicBezTo>
                    <a:pt x="127" y="64"/>
                    <a:pt x="122" y="60"/>
                    <a:pt x="121" y="56"/>
                  </a:cubicBezTo>
                  <a:cubicBezTo>
                    <a:pt x="121" y="52"/>
                    <a:pt x="122" y="49"/>
                    <a:pt x="125" y="49"/>
                  </a:cubicBezTo>
                  <a:close/>
                  <a:moveTo>
                    <a:pt x="158" y="77"/>
                  </a:moveTo>
                  <a:cubicBezTo>
                    <a:pt x="155" y="74"/>
                    <a:pt x="156" y="70"/>
                    <a:pt x="160" y="69"/>
                  </a:cubicBezTo>
                  <a:cubicBezTo>
                    <a:pt x="167" y="68"/>
                    <a:pt x="176" y="75"/>
                    <a:pt x="170" y="77"/>
                  </a:cubicBezTo>
                  <a:cubicBezTo>
                    <a:pt x="167" y="78"/>
                    <a:pt x="162" y="78"/>
                    <a:pt x="158" y="77"/>
                  </a:cubicBezTo>
                  <a:close/>
                  <a:moveTo>
                    <a:pt x="46" y="102"/>
                  </a:moveTo>
                  <a:cubicBezTo>
                    <a:pt x="49" y="102"/>
                    <a:pt x="57" y="104"/>
                    <a:pt x="59" y="106"/>
                  </a:cubicBezTo>
                  <a:cubicBezTo>
                    <a:pt x="61" y="109"/>
                    <a:pt x="53" y="108"/>
                    <a:pt x="48" y="106"/>
                  </a:cubicBezTo>
                  <a:cubicBezTo>
                    <a:pt x="45" y="105"/>
                    <a:pt x="43" y="103"/>
                    <a:pt x="46" y="102"/>
                  </a:cubicBezTo>
                  <a:close/>
                </a:path>
              </a:pathLst>
            </a:custGeom>
            <a:solidFill>
              <a:srgbClr val="00AEEF"/>
            </a:solidFill>
            <a:ln>
              <a:noFill/>
            </a:ln>
          </p:spPr>
          <p:txBody>
            <a:bodyPr lIns="82305" tIns="41153" rIns="82305" bIns="41153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7097713" y="4518025"/>
            <a:ext cx="1506537" cy="646113"/>
            <a:chOff x="7097009" y="4517816"/>
            <a:chExt cx="1506550" cy="646381"/>
          </a:xfrm>
        </p:grpSpPr>
        <p:sp>
          <p:nvSpPr>
            <p:cNvPr id="149" name="Flowchart: Internal Storage 21"/>
            <p:cNvSpPr/>
            <p:nvPr>
              <p:custDataLst>
                <p:tags r:id="rId17"/>
              </p:custDataLst>
            </p:nvPr>
          </p:nvSpPr>
          <p:spPr bwMode="auto">
            <a:xfrm>
              <a:off x="7269564" y="4517816"/>
              <a:ext cx="1333995" cy="587647"/>
            </a:xfrm>
            <a:prstGeom prst="flowChartInternalStorage">
              <a:avLst/>
            </a:prstGeom>
            <a:solidFill>
              <a:srgbClr val="FFFFFF"/>
            </a:solidFill>
            <a:ln w="9525" cap="flat" cmpd="sng" algn="ctr">
              <a:solidFill>
                <a:srgbClr val="00AEE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fontAlgn="auto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endPara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j-lt"/>
                <a:cs typeface="+mn-cs"/>
              </a:endParaRPr>
            </a:p>
          </p:txBody>
        </p:sp>
        <p:sp>
          <p:nvSpPr>
            <p:cNvPr id="170" name="Flowchart: Internal Storage 60"/>
            <p:cNvSpPr/>
            <p:nvPr>
              <p:custDataLst>
                <p:tags r:id="rId18"/>
              </p:custDataLst>
            </p:nvPr>
          </p:nvSpPr>
          <p:spPr bwMode="auto">
            <a:xfrm>
              <a:off x="7097009" y="4576550"/>
              <a:ext cx="1333995" cy="587647"/>
            </a:xfrm>
            <a:prstGeom prst="flowChartInternalStorage">
              <a:avLst/>
            </a:prstGeom>
            <a:solidFill>
              <a:srgbClr val="00AEEF">
                <a:lumMod val="20000"/>
                <a:lumOff val="80000"/>
              </a:srgbClr>
            </a:solidFill>
            <a:ln w="9525" cap="flat" cmpd="sng" algn="ctr">
              <a:solidFill>
                <a:srgbClr val="00AEE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fontAlgn="auto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Table Storage</a:t>
              </a:r>
            </a:p>
          </p:txBody>
        </p:sp>
      </p:grpSp>
      <p:cxnSp>
        <p:nvCxnSpPr>
          <p:cNvPr id="171" name="Straight Arrow Connector 50"/>
          <p:cNvCxnSpPr/>
          <p:nvPr>
            <p:custDataLst>
              <p:tags r:id="rId6"/>
            </p:custDataLst>
          </p:nvPr>
        </p:nvCxnSpPr>
        <p:spPr>
          <a:xfrm>
            <a:off x="1477963" y="4406900"/>
            <a:ext cx="1862137" cy="8683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173" name="Group 72"/>
          <p:cNvGrpSpPr/>
          <p:nvPr/>
        </p:nvGrpSpPr>
        <p:grpSpPr>
          <a:xfrm>
            <a:off x="484290" y="3768244"/>
            <a:ext cx="1207390" cy="794827"/>
            <a:chOff x="13073063" y="587375"/>
            <a:chExt cx="19038888" cy="12533313"/>
          </a:xfrm>
          <a:solidFill>
            <a:schemeClr val="accent2">
              <a:lumMod val="75000"/>
            </a:schemeClr>
          </a:solidFill>
        </p:grpSpPr>
        <p:sp>
          <p:nvSpPr>
            <p:cNvPr id="174" name="Freeform 12"/>
            <p:cNvSpPr>
              <a:spLocks/>
            </p:cNvSpPr>
            <p:nvPr/>
          </p:nvSpPr>
          <p:spPr bwMode="auto">
            <a:xfrm>
              <a:off x="13073063" y="5135563"/>
              <a:ext cx="3543300" cy="5521325"/>
            </a:xfrm>
            <a:custGeom>
              <a:avLst/>
              <a:gdLst>
                <a:gd name="T0" fmla="*/ 945 w 945"/>
                <a:gd name="T1" fmla="*/ 0 h 1472"/>
                <a:gd name="T2" fmla="*/ 945 w 945"/>
                <a:gd name="T3" fmla="*/ 0 h 1472"/>
                <a:gd name="T4" fmla="*/ 243 w 945"/>
                <a:gd name="T5" fmla="*/ 709 h 1472"/>
                <a:gd name="T6" fmla="*/ 486 w 945"/>
                <a:gd name="T7" fmla="*/ 1445 h 1472"/>
                <a:gd name="T8" fmla="*/ 486 w 945"/>
                <a:gd name="T9" fmla="*/ 927 h 1472"/>
                <a:gd name="T10" fmla="*/ 945 w 945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5" h="1472">
                  <a:moveTo>
                    <a:pt x="945" y="0"/>
                  </a:moveTo>
                  <a:cubicBezTo>
                    <a:pt x="945" y="0"/>
                    <a:pt x="945" y="0"/>
                    <a:pt x="945" y="0"/>
                  </a:cubicBezTo>
                  <a:cubicBezTo>
                    <a:pt x="783" y="55"/>
                    <a:pt x="459" y="191"/>
                    <a:pt x="243" y="709"/>
                  </a:cubicBezTo>
                  <a:cubicBezTo>
                    <a:pt x="0" y="1200"/>
                    <a:pt x="270" y="1472"/>
                    <a:pt x="486" y="1445"/>
                  </a:cubicBezTo>
                  <a:cubicBezTo>
                    <a:pt x="486" y="927"/>
                    <a:pt x="486" y="927"/>
                    <a:pt x="486" y="927"/>
                  </a:cubicBezTo>
                  <a:cubicBezTo>
                    <a:pt x="486" y="545"/>
                    <a:pt x="675" y="191"/>
                    <a:pt x="9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5" name="Freeform 13"/>
            <p:cNvSpPr>
              <a:spLocks/>
            </p:cNvSpPr>
            <p:nvPr/>
          </p:nvSpPr>
          <p:spPr bwMode="auto">
            <a:xfrm>
              <a:off x="21409025" y="5135563"/>
              <a:ext cx="3584575" cy="5521325"/>
            </a:xfrm>
            <a:custGeom>
              <a:avLst/>
              <a:gdLst>
                <a:gd name="T0" fmla="*/ 0 w 956"/>
                <a:gd name="T1" fmla="*/ 0 h 1472"/>
                <a:gd name="T2" fmla="*/ 0 w 956"/>
                <a:gd name="T3" fmla="*/ 0 h 1472"/>
                <a:gd name="T4" fmla="*/ 711 w 956"/>
                <a:gd name="T5" fmla="*/ 709 h 1472"/>
                <a:gd name="T6" fmla="*/ 465 w 956"/>
                <a:gd name="T7" fmla="*/ 1445 h 1472"/>
                <a:gd name="T8" fmla="*/ 465 w 956"/>
                <a:gd name="T9" fmla="*/ 927 h 1472"/>
                <a:gd name="T10" fmla="*/ 0 w 956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6" h="147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4" y="55"/>
                    <a:pt x="492" y="191"/>
                    <a:pt x="711" y="709"/>
                  </a:cubicBezTo>
                  <a:cubicBezTo>
                    <a:pt x="956" y="1200"/>
                    <a:pt x="683" y="1472"/>
                    <a:pt x="465" y="1445"/>
                  </a:cubicBezTo>
                  <a:cubicBezTo>
                    <a:pt x="465" y="927"/>
                    <a:pt x="465" y="927"/>
                    <a:pt x="465" y="927"/>
                  </a:cubicBezTo>
                  <a:cubicBezTo>
                    <a:pt x="465" y="545"/>
                    <a:pt x="274" y="19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6" name="Freeform 14"/>
            <p:cNvSpPr>
              <a:spLocks/>
            </p:cNvSpPr>
            <p:nvPr/>
          </p:nvSpPr>
          <p:spPr bwMode="auto">
            <a:xfrm>
              <a:off x="15495588" y="5421313"/>
              <a:ext cx="7038975" cy="7699375"/>
            </a:xfrm>
            <a:custGeom>
              <a:avLst/>
              <a:gdLst>
                <a:gd name="T0" fmla="*/ 1877 w 1877"/>
                <a:gd name="T1" fmla="*/ 794 h 2053"/>
                <a:gd name="T2" fmla="*/ 1577 w 1877"/>
                <a:gd name="T3" fmla="*/ 0 h 2053"/>
                <a:gd name="T4" fmla="*/ 952 w 1877"/>
                <a:gd name="T5" fmla="*/ 274 h 2053"/>
                <a:gd name="T6" fmla="*/ 353 w 1877"/>
                <a:gd name="T7" fmla="*/ 0 h 2053"/>
                <a:gd name="T8" fmla="*/ 0 w 1877"/>
                <a:gd name="T9" fmla="*/ 794 h 2053"/>
                <a:gd name="T10" fmla="*/ 0 w 1877"/>
                <a:gd name="T11" fmla="*/ 1615 h 2053"/>
                <a:gd name="T12" fmla="*/ 380 w 1877"/>
                <a:gd name="T13" fmla="*/ 2053 h 2053"/>
                <a:gd name="T14" fmla="*/ 1550 w 1877"/>
                <a:gd name="T15" fmla="*/ 2053 h 2053"/>
                <a:gd name="T16" fmla="*/ 1550 w 1877"/>
                <a:gd name="T17" fmla="*/ 2053 h 2053"/>
                <a:gd name="T18" fmla="*/ 1877 w 1877"/>
                <a:gd name="T19" fmla="*/ 1013 h 2053"/>
                <a:gd name="T20" fmla="*/ 1877 w 1877"/>
                <a:gd name="T21" fmla="*/ 794 h 2053"/>
                <a:gd name="T22" fmla="*/ 1877 w 1877"/>
                <a:gd name="T23" fmla="*/ 794 h 2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77" h="2053">
                  <a:moveTo>
                    <a:pt x="1877" y="794"/>
                  </a:moveTo>
                  <a:cubicBezTo>
                    <a:pt x="1877" y="493"/>
                    <a:pt x="1768" y="192"/>
                    <a:pt x="1577" y="0"/>
                  </a:cubicBezTo>
                  <a:cubicBezTo>
                    <a:pt x="1414" y="165"/>
                    <a:pt x="1196" y="274"/>
                    <a:pt x="952" y="274"/>
                  </a:cubicBezTo>
                  <a:cubicBezTo>
                    <a:pt x="707" y="274"/>
                    <a:pt x="489" y="165"/>
                    <a:pt x="353" y="0"/>
                  </a:cubicBezTo>
                  <a:cubicBezTo>
                    <a:pt x="136" y="192"/>
                    <a:pt x="0" y="493"/>
                    <a:pt x="0" y="794"/>
                  </a:cubicBezTo>
                  <a:cubicBezTo>
                    <a:pt x="0" y="1615"/>
                    <a:pt x="0" y="1615"/>
                    <a:pt x="0" y="1615"/>
                  </a:cubicBezTo>
                  <a:cubicBezTo>
                    <a:pt x="0" y="1862"/>
                    <a:pt x="190" y="2053"/>
                    <a:pt x="38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740" y="2053"/>
                    <a:pt x="1877" y="1944"/>
                    <a:pt x="1877" y="1013"/>
                  </a:cubicBezTo>
                  <a:cubicBezTo>
                    <a:pt x="1877" y="794"/>
                    <a:pt x="1877" y="794"/>
                    <a:pt x="1877" y="794"/>
                  </a:cubicBezTo>
                  <a:cubicBezTo>
                    <a:pt x="1877" y="794"/>
                    <a:pt x="1877" y="794"/>
                    <a:pt x="1877" y="7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7" name="Oval 15"/>
            <p:cNvSpPr>
              <a:spLocks noChangeArrowheads="1"/>
            </p:cNvSpPr>
            <p:nvPr/>
          </p:nvSpPr>
          <p:spPr bwMode="auto">
            <a:xfrm>
              <a:off x="16748125" y="1066800"/>
              <a:ext cx="4660900" cy="4662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8" name="Freeform 16"/>
            <p:cNvSpPr>
              <a:spLocks noEditPoints="1"/>
            </p:cNvSpPr>
            <p:nvPr/>
          </p:nvSpPr>
          <p:spPr bwMode="auto">
            <a:xfrm>
              <a:off x="23055263" y="587375"/>
              <a:ext cx="9056688" cy="7851775"/>
            </a:xfrm>
            <a:custGeom>
              <a:avLst/>
              <a:gdLst>
                <a:gd name="T0" fmla="*/ 1840 w 2415"/>
                <a:gd name="T1" fmla="*/ 0 h 2094"/>
                <a:gd name="T2" fmla="*/ 348 w 2415"/>
                <a:gd name="T3" fmla="*/ 1482 h 2094"/>
                <a:gd name="T4" fmla="*/ 365 w 2415"/>
                <a:gd name="T5" fmla="*/ 1612 h 2094"/>
                <a:gd name="T6" fmla="*/ 492 w 2415"/>
                <a:gd name="T7" fmla="*/ 1682 h 2094"/>
                <a:gd name="T8" fmla="*/ 1001 w 2415"/>
                <a:gd name="T9" fmla="*/ 1739 h 2094"/>
                <a:gd name="T10" fmla="*/ 1036 w 2415"/>
                <a:gd name="T11" fmla="*/ 1756 h 2094"/>
                <a:gd name="T12" fmla="*/ 1032 w 2415"/>
                <a:gd name="T13" fmla="*/ 1845 h 2094"/>
                <a:gd name="T14" fmla="*/ 1002 w 2415"/>
                <a:gd name="T15" fmla="*/ 1859 h 2094"/>
                <a:gd name="T16" fmla="*/ 2411 w 2415"/>
                <a:gd name="T17" fmla="*/ 2038 h 2094"/>
                <a:gd name="T18" fmla="*/ 558 w 2415"/>
                <a:gd name="T19" fmla="*/ 1534 h 2094"/>
                <a:gd name="T20" fmla="*/ 484 w 2415"/>
                <a:gd name="T21" fmla="*/ 1550 h 2094"/>
                <a:gd name="T22" fmla="*/ 430 w 2415"/>
                <a:gd name="T23" fmla="*/ 1482 h 2094"/>
                <a:gd name="T24" fmla="*/ 575 w 2415"/>
                <a:gd name="T25" fmla="*/ 1480 h 2094"/>
                <a:gd name="T26" fmla="*/ 768 w 2415"/>
                <a:gd name="T27" fmla="*/ 1675 h 2094"/>
                <a:gd name="T28" fmla="*/ 604 w 2415"/>
                <a:gd name="T29" fmla="*/ 1678 h 2094"/>
                <a:gd name="T30" fmla="*/ 762 w 2415"/>
                <a:gd name="T31" fmla="*/ 1593 h 2094"/>
                <a:gd name="T32" fmla="*/ 795 w 2415"/>
                <a:gd name="T33" fmla="*/ 1536 h 2094"/>
                <a:gd name="T34" fmla="*/ 654 w 2415"/>
                <a:gd name="T35" fmla="*/ 1489 h 2094"/>
                <a:gd name="T36" fmla="*/ 770 w 2415"/>
                <a:gd name="T37" fmla="*/ 1468 h 2094"/>
                <a:gd name="T38" fmla="*/ 1035 w 2415"/>
                <a:gd name="T39" fmla="*/ 1673 h 2094"/>
                <a:gd name="T40" fmla="*/ 870 w 2415"/>
                <a:gd name="T41" fmla="*/ 1678 h 2094"/>
                <a:gd name="T42" fmla="*/ 1038 w 2415"/>
                <a:gd name="T43" fmla="*/ 1615 h 2094"/>
                <a:gd name="T44" fmla="*/ 882 w 2415"/>
                <a:gd name="T45" fmla="*/ 1536 h 2094"/>
                <a:gd name="T46" fmla="*/ 894 w 2415"/>
                <a:gd name="T47" fmla="*/ 1476 h 2094"/>
                <a:gd name="T48" fmla="*/ 928 w 2415"/>
                <a:gd name="T49" fmla="*/ 1468 h 2094"/>
                <a:gd name="T50" fmla="*/ 231 w 2415"/>
                <a:gd name="T51" fmla="*/ 1302 h 2094"/>
                <a:gd name="T52" fmla="*/ 1880 w 2415"/>
                <a:gd name="T53" fmla="*/ 1540 h 2094"/>
                <a:gd name="T54" fmla="*/ 1723 w 2415"/>
                <a:gd name="T55" fmla="*/ 1525 h 2094"/>
                <a:gd name="T56" fmla="*/ 1818 w 2415"/>
                <a:gd name="T57" fmla="*/ 1467 h 2094"/>
                <a:gd name="T58" fmla="*/ 1121 w 2415"/>
                <a:gd name="T59" fmla="*/ 1536 h 2094"/>
                <a:gd name="T60" fmla="*/ 1137 w 2415"/>
                <a:gd name="T61" fmla="*/ 1470 h 2094"/>
                <a:gd name="T62" fmla="*/ 1272 w 2415"/>
                <a:gd name="T63" fmla="*/ 1534 h 2094"/>
                <a:gd name="T64" fmla="*/ 1144 w 2415"/>
                <a:gd name="T65" fmla="*/ 1547 h 2094"/>
                <a:gd name="T66" fmla="*/ 1126 w 2415"/>
                <a:gd name="T67" fmla="*/ 1657 h 2094"/>
                <a:gd name="T68" fmla="*/ 1300 w 2415"/>
                <a:gd name="T69" fmla="*/ 1672 h 2094"/>
                <a:gd name="T70" fmla="*/ 1274 w 2415"/>
                <a:gd name="T71" fmla="*/ 1687 h 2094"/>
                <a:gd name="T72" fmla="*/ 1147 w 2415"/>
                <a:gd name="T73" fmla="*/ 1683 h 2094"/>
                <a:gd name="T74" fmla="*/ 1193 w 2415"/>
                <a:gd name="T75" fmla="*/ 1859 h 2094"/>
                <a:gd name="T76" fmla="*/ 1139 w 2415"/>
                <a:gd name="T77" fmla="*/ 1824 h 2094"/>
                <a:gd name="T78" fmla="*/ 1143 w 2415"/>
                <a:gd name="T79" fmla="*/ 1749 h 2094"/>
                <a:gd name="T80" fmla="*/ 1166 w 2415"/>
                <a:gd name="T81" fmla="*/ 1739 h 2094"/>
                <a:gd name="T82" fmla="*/ 1284 w 2415"/>
                <a:gd name="T83" fmla="*/ 1739 h 2094"/>
                <a:gd name="T84" fmla="*/ 1328 w 2415"/>
                <a:gd name="T85" fmla="*/ 1790 h 2094"/>
                <a:gd name="T86" fmla="*/ 1472 w 2415"/>
                <a:gd name="T87" fmla="*/ 1481 h 2094"/>
                <a:gd name="T88" fmla="*/ 1607 w 2415"/>
                <a:gd name="T89" fmla="*/ 1473 h 2094"/>
                <a:gd name="T90" fmla="*/ 1630 w 2415"/>
                <a:gd name="T91" fmla="*/ 1545 h 2094"/>
                <a:gd name="T92" fmla="*/ 1505 w 2415"/>
                <a:gd name="T93" fmla="*/ 1541 h 2094"/>
                <a:gd name="T94" fmla="*/ 1525 w 2415"/>
                <a:gd name="T95" fmla="*/ 1596 h 2094"/>
                <a:gd name="T96" fmla="*/ 1712 w 2415"/>
                <a:gd name="T97" fmla="*/ 1672 h 2094"/>
                <a:gd name="T98" fmla="*/ 1686 w 2415"/>
                <a:gd name="T99" fmla="*/ 1687 h 2094"/>
                <a:gd name="T100" fmla="*/ 1790 w 2415"/>
                <a:gd name="T101" fmla="*/ 1847 h 2094"/>
                <a:gd name="T102" fmla="*/ 1649 w 2415"/>
                <a:gd name="T103" fmla="*/ 1857 h 2094"/>
                <a:gd name="T104" fmla="*/ 1603 w 2415"/>
                <a:gd name="T105" fmla="*/ 1737 h 2094"/>
                <a:gd name="T106" fmla="*/ 1763 w 2415"/>
                <a:gd name="T107" fmla="*/ 1765 h 2094"/>
                <a:gd name="T108" fmla="*/ 1770 w 2415"/>
                <a:gd name="T109" fmla="*/ 1604 h 2094"/>
                <a:gd name="T110" fmla="*/ 1975 w 2415"/>
                <a:gd name="T111" fmla="*/ 1676 h 2094"/>
                <a:gd name="T112" fmla="*/ 1814 w 2415"/>
                <a:gd name="T113" fmla="*/ 1675 h 2094"/>
                <a:gd name="T114" fmla="*/ 1891 w 2415"/>
                <a:gd name="T115" fmla="*/ 1824 h 2094"/>
                <a:gd name="T116" fmla="*/ 1979 w 2415"/>
                <a:gd name="T117" fmla="*/ 1736 h 2094"/>
                <a:gd name="T118" fmla="*/ 2089 w 2415"/>
                <a:gd name="T119" fmla="*/ 1829 h 2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15" h="2094">
                  <a:moveTo>
                    <a:pt x="2389" y="1883"/>
                  </a:moveTo>
                  <a:cubicBezTo>
                    <a:pt x="2381" y="1875"/>
                    <a:pt x="2375" y="1868"/>
                    <a:pt x="2369" y="1860"/>
                  </a:cubicBezTo>
                  <a:cubicBezTo>
                    <a:pt x="2335" y="1820"/>
                    <a:pt x="2301" y="1780"/>
                    <a:pt x="2267" y="1740"/>
                  </a:cubicBezTo>
                  <a:cubicBezTo>
                    <a:pt x="2191" y="1651"/>
                    <a:pt x="2117" y="1563"/>
                    <a:pt x="2041" y="1475"/>
                  </a:cubicBezTo>
                  <a:cubicBezTo>
                    <a:pt x="2038" y="1471"/>
                    <a:pt x="2034" y="1465"/>
                    <a:pt x="2030" y="1461"/>
                  </a:cubicBezTo>
                  <a:cubicBezTo>
                    <a:pt x="2014" y="1443"/>
                    <a:pt x="1991" y="1432"/>
                    <a:pt x="1968" y="1424"/>
                  </a:cubicBezTo>
                  <a:cubicBezTo>
                    <a:pt x="1944" y="1416"/>
                    <a:pt x="1918" y="1411"/>
                    <a:pt x="1892" y="1410"/>
                  </a:cubicBezTo>
                  <a:cubicBezTo>
                    <a:pt x="1982" y="1386"/>
                    <a:pt x="2049" y="1306"/>
                    <a:pt x="2049" y="1209"/>
                  </a:cubicBezTo>
                  <a:cubicBezTo>
                    <a:pt x="2049" y="208"/>
                    <a:pt x="2049" y="208"/>
                    <a:pt x="2049" y="208"/>
                  </a:cubicBezTo>
                  <a:cubicBezTo>
                    <a:pt x="2049" y="93"/>
                    <a:pt x="1954" y="0"/>
                    <a:pt x="1840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94" y="0"/>
                    <a:pt x="0" y="93"/>
                    <a:pt x="0" y="208"/>
                  </a:cubicBezTo>
                  <a:cubicBezTo>
                    <a:pt x="0" y="1209"/>
                    <a:pt x="0" y="1209"/>
                    <a:pt x="0" y="1209"/>
                  </a:cubicBezTo>
                  <a:cubicBezTo>
                    <a:pt x="0" y="1215"/>
                    <a:pt x="0" y="1220"/>
                    <a:pt x="1" y="1226"/>
                  </a:cubicBezTo>
                  <a:cubicBezTo>
                    <a:pt x="85" y="1281"/>
                    <a:pt x="176" y="1358"/>
                    <a:pt x="263" y="1469"/>
                  </a:cubicBezTo>
                  <a:cubicBezTo>
                    <a:pt x="275" y="1469"/>
                    <a:pt x="287" y="1470"/>
                    <a:pt x="297" y="1470"/>
                  </a:cubicBezTo>
                  <a:cubicBezTo>
                    <a:pt x="310" y="1470"/>
                    <a:pt x="326" y="1467"/>
                    <a:pt x="338" y="1473"/>
                  </a:cubicBezTo>
                  <a:cubicBezTo>
                    <a:pt x="340" y="1474"/>
                    <a:pt x="341" y="1475"/>
                    <a:pt x="342" y="1475"/>
                  </a:cubicBezTo>
                  <a:cubicBezTo>
                    <a:pt x="342" y="1475"/>
                    <a:pt x="342" y="1476"/>
                    <a:pt x="343" y="1476"/>
                  </a:cubicBezTo>
                  <a:cubicBezTo>
                    <a:pt x="345" y="1477"/>
                    <a:pt x="348" y="1480"/>
                    <a:pt x="348" y="1482"/>
                  </a:cubicBezTo>
                  <a:cubicBezTo>
                    <a:pt x="349" y="1484"/>
                    <a:pt x="349" y="1487"/>
                    <a:pt x="347" y="1489"/>
                  </a:cubicBezTo>
                  <a:cubicBezTo>
                    <a:pt x="345" y="1491"/>
                    <a:pt x="345" y="1491"/>
                    <a:pt x="345" y="1491"/>
                  </a:cubicBezTo>
                  <a:cubicBezTo>
                    <a:pt x="343" y="1497"/>
                    <a:pt x="338" y="1506"/>
                    <a:pt x="335" y="1511"/>
                  </a:cubicBezTo>
                  <a:cubicBezTo>
                    <a:pt x="325" y="1528"/>
                    <a:pt x="325" y="1528"/>
                    <a:pt x="325" y="1528"/>
                  </a:cubicBezTo>
                  <a:cubicBezTo>
                    <a:pt x="324" y="1531"/>
                    <a:pt x="321" y="1534"/>
                    <a:pt x="318" y="1537"/>
                  </a:cubicBezTo>
                  <a:cubicBezTo>
                    <a:pt x="316" y="1537"/>
                    <a:pt x="315" y="1538"/>
                    <a:pt x="314" y="1539"/>
                  </a:cubicBezTo>
                  <a:cubicBezTo>
                    <a:pt x="330" y="1563"/>
                    <a:pt x="346" y="1589"/>
                    <a:pt x="362" y="1615"/>
                  </a:cubicBezTo>
                  <a:cubicBezTo>
                    <a:pt x="362" y="1615"/>
                    <a:pt x="363" y="1615"/>
                    <a:pt x="363" y="1615"/>
                  </a:cubicBezTo>
                  <a:cubicBezTo>
                    <a:pt x="363" y="1614"/>
                    <a:pt x="364" y="1613"/>
                    <a:pt x="364" y="1612"/>
                  </a:cubicBezTo>
                  <a:cubicBezTo>
                    <a:pt x="364" y="1612"/>
                    <a:pt x="364" y="1612"/>
                    <a:pt x="365" y="1612"/>
                  </a:cubicBezTo>
                  <a:cubicBezTo>
                    <a:pt x="383" y="1587"/>
                    <a:pt x="425" y="1592"/>
                    <a:pt x="452" y="1592"/>
                  </a:cubicBezTo>
                  <a:cubicBezTo>
                    <a:pt x="459" y="1592"/>
                    <a:pt x="479" y="1590"/>
                    <a:pt x="496" y="1592"/>
                  </a:cubicBezTo>
                  <a:cubicBezTo>
                    <a:pt x="502" y="1592"/>
                    <a:pt x="508" y="1592"/>
                    <a:pt x="512" y="1593"/>
                  </a:cubicBezTo>
                  <a:cubicBezTo>
                    <a:pt x="515" y="1594"/>
                    <a:pt x="518" y="1595"/>
                    <a:pt x="520" y="1596"/>
                  </a:cubicBezTo>
                  <a:cubicBezTo>
                    <a:pt x="526" y="1599"/>
                    <a:pt x="531" y="1605"/>
                    <a:pt x="531" y="1611"/>
                  </a:cubicBezTo>
                  <a:cubicBezTo>
                    <a:pt x="531" y="1612"/>
                    <a:pt x="531" y="1612"/>
                    <a:pt x="531" y="1613"/>
                  </a:cubicBezTo>
                  <a:cubicBezTo>
                    <a:pt x="531" y="1614"/>
                    <a:pt x="531" y="1615"/>
                    <a:pt x="531" y="1616"/>
                  </a:cubicBezTo>
                  <a:cubicBezTo>
                    <a:pt x="513" y="1663"/>
                    <a:pt x="513" y="1663"/>
                    <a:pt x="513" y="1663"/>
                  </a:cubicBezTo>
                  <a:cubicBezTo>
                    <a:pt x="512" y="1667"/>
                    <a:pt x="509" y="1671"/>
                    <a:pt x="506" y="1674"/>
                  </a:cubicBezTo>
                  <a:cubicBezTo>
                    <a:pt x="502" y="1677"/>
                    <a:pt x="497" y="1680"/>
                    <a:pt x="492" y="1682"/>
                  </a:cubicBezTo>
                  <a:cubicBezTo>
                    <a:pt x="492" y="1683"/>
                    <a:pt x="491" y="1683"/>
                    <a:pt x="491" y="1683"/>
                  </a:cubicBezTo>
                  <a:cubicBezTo>
                    <a:pt x="484" y="1686"/>
                    <a:pt x="477" y="1688"/>
                    <a:pt x="469" y="1690"/>
                  </a:cubicBezTo>
                  <a:cubicBezTo>
                    <a:pt x="467" y="1690"/>
                    <a:pt x="467" y="1690"/>
                    <a:pt x="467" y="1690"/>
                  </a:cubicBezTo>
                  <a:cubicBezTo>
                    <a:pt x="465" y="1690"/>
                    <a:pt x="464" y="1690"/>
                    <a:pt x="463" y="1690"/>
                  </a:cubicBezTo>
                  <a:cubicBezTo>
                    <a:pt x="449" y="1691"/>
                    <a:pt x="433" y="1690"/>
                    <a:pt x="418" y="1690"/>
                  </a:cubicBezTo>
                  <a:cubicBezTo>
                    <a:pt x="413" y="1690"/>
                    <a:pt x="409" y="1690"/>
                    <a:pt x="404" y="1690"/>
                  </a:cubicBezTo>
                  <a:cubicBezTo>
                    <a:pt x="412" y="1706"/>
                    <a:pt x="420" y="1723"/>
                    <a:pt x="428" y="1739"/>
                  </a:cubicBezTo>
                  <a:cubicBezTo>
                    <a:pt x="592" y="1739"/>
                    <a:pt x="954" y="1738"/>
                    <a:pt x="971" y="1738"/>
                  </a:cubicBezTo>
                  <a:cubicBezTo>
                    <a:pt x="977" y="1738"/>
                    <a:pt x="985" y="1738"/>
                    <a:pt x="992" y="1738"/>
                  </a:cubicBezTo>
                  <a:cubicBezTo>
                    <a:pt x="995" y="1738"/>
                    <a:pt x="998" y="1738"/>
                    <a:pt x="1001" y="1739"/>
                  </a:cubicBezTo>
                  <a:cubicBezTo>
                    <a:pt x="1002" y="1739"/>
                    <a:pt x="1002" y="1739"/>
                    <a:pt x="1002" y="1739"/>
                  </a:cubicBezTo>
                  <a:cubicBezTo>
                    <a:pt x="1004" y="1739"/>
                    <a:pt x="1007" y="1739"/>
                    <a:pt x="1009" y="1740"/>
                  </a:cubicBezTo>
                  <a:cubicBezTo>
                    <a:pt x="1010" y="1740"/>
                    <a:pt x="1010" y="1740"/>
                    <a:pt x="1010" y="1740"/>
                  </a:cubicBezTo>
                  <a:cubicBezTo>
                    <a:pt x="1013" y="1741"/>
                    <a:pt x="1016" y="1742"/>
                    <a:pt x="1018" y="1743"/>
                  </a:cubicBezTo>
                  <a:cubicBezTo>
                    <a:pt x="1019" y="1743"/>
                    <a:pt x="1019" y="1743"/>
                    <a:pt x="1019" y="1743"/>
                  </a:cubicBezTo>
                  <a:cubicBezTo>
                    <a:pt x="1021" y="1744"/>
                    <a:pt x="1023" y="1745"/>
                    <a:pt x="1025" y="1746"/>
                  </a:cubicBezTo>
                  <a:cubicBezTo>
                    <a:pt x="1025" y="1746"/>
                    <a:pt x="1025" y="1746"/>
                    <a:pt x="1026" y="1746"/>
                  </a:cubicBezTo>
                  <a:cubicBezTo>
                    <a:pt x="1026" y="1747"/>
                    <a:pt x="1026" y="1747"/>
                    <a:pt x="1026" y="1747"/>
                  </a:cubicBezTo>
                  <a:cubicBezTo>
                    <a:pt x="1028" y="1748"/>
                    <a:pt x="1029" y="1749"/>
                    <a:pt x="1030" y="1750"/>
                  </a:cubicBezTo>
                  <a:cubicBezTo>
                    <a:pt x="1032" y="1751"/>
                    <a:pt x="1034" y="1753"/>
                    <a:pt x="1036" y="1756"/>
                  </a:cubicBezTo>
                  <a:cubicBezTo>
                    <a:pt x="1038" y="1759"/>
                    <a:pt x="1040" y="1763"/>
                    <a:pt x="1040" y="1768"/>
                  </a:cubicBezTo>
                  <a:cubicBezTo>
                    <a:pt x="1040" y="1771"/>
                    <a:pt x="1040" y="1771"/>
                    <a:pt x="1040" y="1771"/>
                  </a:cubicBezTo>
                  <a:cubicBezTo>
                    <a:pt x="1040" y="1785"/>
                    <a:pt x="1040" y="1801"/>
                    <a:pt x="1040" y="1815"/>
                  </a:cubicBezTo>
                  <a:cubicBezTo>
                    <a:pt x="1040" y="1819"/>
                    <a:pt x="1041" y="1822"/>
                    <a:pt x="1040" y="1826"/>
                  </a:cubicBezTo>
                  <a:cubicBezTo>
                    <a:pt x="1040" y="1828"/>
                    <a:pt x="1040" y="1830"/>
                    <a:pt x="1039" y="1832"/>
                  </a:cubicBezTo>
                  <a:cubicBezTo>
                    <a:pt x="1039" y="1834"/>
                    <a:pt x="1039" y="1834"/>
                    <a:pt x="1039" y="1834"/>
                  </a:cubicBezTo>
                  <a:cubicBezTo>
                    <a:pt x="1038" y="1836"/>
                    <a:pt x="1038" y="1838"/>
                    <a:pt x="1037" y="1839"/>
                  </a:cubicBezTo>
                  <a:cubicBezTo>
                    <a:pt x="1037" y="1839"/>
                    <a:pt x="1037" y="1839"/>
                    <a:pt x="1037" y="1840"/>
                  </a:cubicBezTo>
                  <a:cubicBezTo>
                    <a:pt x="1036" y="1840"/>
                    <a:pt x="1036" y="1840"/>
                    <a:pt x="1036" y="1840"/>
                  </a:cubicBezTo>
                  <a:cubicBezTo>
                    <a:pt x="1035" y="1842"/>
                    <a:pt x="1034" y="1844"/>
                    <a:pt x="1032" y="1845"/>
                  </a:cubicBezTo>
                  <a:cubicBezTo>
                    <a:pt x="1030" y="1847"/>
                    <a:pt x="1029" y="1848"/>
                    <a:pt x="1027" y="1850"/>
                  </a:cubicBezTo>
                  <a:cubicBezTo>
                    <a:pt x="1026" y="1850"/>
                    <a:pt x="1026" y="1850"/>
                    <a:pt x="1026" y="1850"/>
                  </a:cubicBezTo>
                  <a:cubicBezTo>
                    <a:pt x="1025" y="1851"/>
                    <a:pt x="1025" y="1851"/>
                    <a:pt x="1025" y="1851"/>
                  </a:cubicBezTo>
                  <a:cubicBezTo>
                    <a:pt x="1023" y="1852"/>
                    <a:pt x="1021" y="1853"/>
                    <a:pt x="1019" y="1854"/>
                  </a:cubicBezTo>
                  <a:cubicBezTo>
                    <a:pt x="1019" y="1854"/>
                    <a:pt x="1019" y="1854"/>
                    <a:pt x="1018" y="1854"/>
                  </a:cubicBezTo>
                  <a:cubicBezTo>
                    <a:pt x="1017" y="1855"/>
                    <a:pt x="1015" y="1856"/>
                    <a:pt x="1013" y="1856"/>
                  </a:cubicBezTo>
                  <a:cubicBezTo>
                    <a:pt x="1012" y="1856"/>
                    <a:pt x="1011" y="1857"/>
                    <a:pt x="1010" y="1857"/>
                  </a:cubicBezTo>
                  <a:cubicBezTo>
                    <a:pt x="1010" y="1857"/>
                    <a:pt x="1010" y="1857"/>
                    <a:pt x="1009" y="1857"/>
                  </a:cubicBezTo>
                  <a:cubicBezTo>
                    <a:pt x="1009" y="1857"/>
                    <a:pt x="1008" y="1857"/>
                    <a:pt x="1008" y="1858"/>
                  </a:cubicBezTo>
                  <a:cubicBezTo>
                    <a:pt x="1006" y="1858"/>
                    <a:pt x="1004" y="1858"/>
                    <a:pt x="1002" y="1859"/>
                  </a:cubicBezTo>
                  <a:cubicBezTo>
                    <a:pt x="1000" y="1859"/>
                    <a:pt x="998" y="1859"/>
                    <a:pt x="997" y="1859"/>
                  </a:cubicBezTo>
                  <a:cubicBezTo>
                    <a:pt x="995" y="1860"/>
                    <a:pt x="993" y="1860"/>
                    <a:pt x="991" y="1860"/>
                  </a:cubicBezTo>
                  <a:cubicBezTo>
                    <a:pt x="991" y="1860"/>
                    <a:pt x="990" y="1860"/>
                    <a:pt x="989" y="1860"/>
                  </a:cubicBezTo>
                  <a:cubicBezTo>
                    <a:pt x="987" y="1860"/>
                    <a:pt x="987" y="1860"/>
                    <a:pt x="987" y="1860"/>
                  </a:cubicBezTo>
                  <a:cubicBezTo>
                    <a:pt x="976" y="1860"/>
                    <a:pt x="965" y="1860"/>
                    <a:pt x="955" y="1860"/>
                  </a:cubicBezTo>
                  <a:cubicBezTo>
                    <a:pt x="922" y="1860"/>
                    <a:pt x="668" y="1861"/>
                    <a:pt x="484" y="1862"/>
                  </a:cubicBezTo>
                  <a:cubicBezTo>
                    <a:pt x="517" y="1942"/>
                    <a:pt x="531" y="2020"/>
                    <a:pt x="532" y="2094"/>
                  </a:cubicBezTo>
                  <a:cubicBezTo>
                    <a:pt x="1249" y="2094"/>
                    <a:pt x="2201" y="2094"/>
                    <a:pt x="2246" y="2094"/>
                  </a:cubicBezTo>
                  <a:cubicBezTo>
                    <a:pt x="2281" y="2094"/>
                    <a:pt x="2322" y="2090"/>
                    <a:pt x="2357" y="2083"/>
                  </a:cubicBezTo>
                  <a:cubicBezTo>
                    <a:pt x="2380" y="2079"/>
                    <a:pt x="2408" y="2066"/>
                    <a:pt x="2411" y="2038"/>
                  </a:cubicBezTo>
                  <a:cubicBezTo>
                    <a:pt x="2411" y="1941"/>
                    <a:pt x="2411" y="1941"/>
                    <a:pt x="2411" y="1941"/>
                  </a:cubicBezTo>
                  <a:cubicBezTo>
                    <a:pt x="2415" y="1919"/>
                    <a:pt x="2402" y="1898"/>
                    <a:pt x="2389" y="1883"/>
                  </a:cubicBezTo>
                  <a:close/>
                  <a:moveTo>
                    <a:pt x="566" y="1519"/>
                  </a:moveTo>
                  <a:cubicBezTo>
                    <a:pt x="566" y="1520"/>
                    <a:pt x="566" y="1520"/>
                    <a:pt x="566" y="1520"/>
                  </a:cubicBezTo>
                  <a:cubicBezTo>
                    <a:pt x="565" y="1522"/>
                    <a:pt x="564" y="1524"/>
                    <a:pt x="563" y="1526"/>
                  </a:cubicBezTo>
                  <a:cubicBezTo>
                    <a:pt x="563" y="1527"/>
                    <a:pt x="563" y="1527"/>
                    <a:pt x="563" y="1527"/>
                  </a:cubicBezTo>
                  <a:cubicBezTo>
                    <a:pt x="563" y="1528"/>
                    <a:pt x="562" y="1529"/>
                    <a:pt x="562" y="1529"/>
                  </a:cubicBezTo>
                  <a:cubicBezTo>
                    <a:pt x="562" y="1530"/>
                    <a:pt x="561" y="1530"/>
                    <a:pt x="561" y="1531"/>
                  </a:cubicBezTo>
                  <a:cubicBezTo>
                    <a:pt x="561" y="1531"/>
                    <a:pt x="560" y="1532"/>
                    <a:pt x="560" y="1533"/>
                  </a:cubicBezTo>
                  <a:cubicBezTo>
                    <a:pt x="558" y="1533"/>
                    <a:pt x="558" y="1533"/>
                    <a:pt x="558" y="1534"/>
                  </a:cubicBezTo>
                  <a:cubicBezTo>
                    <a:pt x="557" y="1534"/>
                    <a:pt x="557" y="1534"/>
                    <a:pt x="557" y="1534"/>
                  </a:cubicBezTo>
                  <a:cubicBezTo>
                    <a:pt x="556" y="1536"/>
                    <a:pt x="556" y="1536"/>
                    <a:pt x="556" y="1537"/>
                  </a:cubicBezTo>
                  <a:cubicBezTo>
                    <a:pt x="554" y="1538"/>
                    <a:pt x="553" y="1539"/>
                    <a:pt x="551" y="1540"/>
                  </a:cubicBezTo>
                  <a:cubicBezTo>
                    <a:pt x="549" y="1541"/>
                    <a:pt x="547" y="1542"/>
                    <a:pt x="546" y="1543"/>
                  </a:cubicBezTo>
                  <a:cubicBezTo>
                    <a:pt x="545" y="1543"/>
                    <a:pt x="545" y="1543"/>
                    <a:pt x="545" y="1543"/>
                  </a:cubicBezTo>
                  <a:cubicBezTo>
                    <a:pt x="544" y="1544"/>
                    <a:pt x="544" y="1544"/>
                    <a:pt x="544" y="1544"/>
                  </a:cubicBezTo>
                  <a:cubicBezTo>
                    <a:pt x="538" y="1546"/>
                    <a:pt x="532" y="1548"/>
                    <a:pt x="526" y="1549"/>
                  </a:cubicBezTo>
                  <a:cubicBezTo>
                    <a:pt x="524" y="1549"/>
                    <a:pt x="522" y="1549"/>
                    <a:pt x="520" y="1549"/>
                  </a:cubicBezTo>
                  <a:cubicBezTo>
                    <a:pt x="520" y="1549"/>
                    <a:pt x="520" y="1550"/>
                    <a:pt x="519" y="1550"/>
                  </a:cubicBezTo>
                  <a:cubicBezTo>
                    <a:pt x="508" y="1551"/>
                    <a:pt x="496" y="1550"/>
                    <a:pt x="484" y="1550"/>
                  </a:cubicBezTo>
                  <a:cubicBezTo>
                    <a:pt x="435" y="1550"/>
                    <a:pt x="435" y="1550"/>
                    <a:pt x="435" y="1550"/>
                  </a:cubicBezTo>
                  <a:cubicBezTo>
                    <a:pt x="425" y="1550"/>
                    <a:pt x="408" y="1548"/>
                    <a:pt x="403" y="1537"/>
                  </a:cubicBezTo>
                  <a:cubicBezTo>
                    <a:pt x="403" y="1536"/>
                    <a:pt x="403" y="1534"/>
                    <a:pt x="403" y="1533"/>
                  </a:cubicBezTo>
                  <a:cubicBezTo>
                    <a:pt x="403" y="1532"/>
                    <a:pt x="403" y="1532"/>
                    <a:pt x="403" y="1531"/>
                  </a:cubicBezTo>
                  <a:cubicBezTo>
                    <a:pt x="404" y="1527"/>
                    <a:pt x="408" y="1523"/>
                    <a:pt x="410" y="1519"/>
                  </a:cubicBezTo>
                  <a:cubicBezTo>
                    <a:pt x="414" y="1509"/>
                    <a:pt x="418" y="1494"/>
                    <a:pt x="426" y="1486"/>
                  </a:cubicBezTo>
                  <a:cubicBezTo>
                    <a:pt x="426" y="1485"/>
                    <a:pt x="427" y="1485"/>
                    <a:pt x="427" y="1485"/>
                  </a:cubicBezTo>
                  <a:cubicBezTo>
                    <a:pt x="428" y="1484"/>
                    <a:pt x="428" y="1484"/>
                    <a:pt x="428" y="1483"/>
                  </a:cubicBezTo>
                  <a:cubicBezTo>
                    <a:pt x="429" y="1483"/>
                    <a:pt x="429" y="1483"/>
                    <a:pt x="429" y="1483"/>
                  </a:cubicBezTo>
                  <a:cubicBezTo>
                    <a:pt x="430" y="1482"/>
                    <a:pt x="430" y="1482"/>
                    <a:pt x="430" y="1482"/>
                  </a:cubicBezTo>
                  <a:cubicBezTo>
                    <a:pt x="431" y="1481"/>
                    <a:pt x="431" y="1481"/>
                    <a:pt x="431" y="1481"/>
                  </a:cubicBezTo>
                  <a:cubicBezTo>
                    <a:pt x="439" y="1476"/>
                    <a:pt x="447" y="1473"/>
                    <a:pt x="456" y="1472"/>
                  </a:cubicBezTo>
                  <a:cubicBezTo>
                    <a:pt x="456" y="1472"/>
                    <a:pt x="456" y="1471"/>
                    <a:pt x="457" y="1471"/>
                  </a:cubicBezTo>
                  <a:cubicBezTo>
                    <a:pt x="462" y="1470"/>
                    <a:pt x="467" y="1470"/>
                    <a:pt x="473" y="1470"/>
                  </a:cubicBezTo>
                  <a:cubicBezTo>
                    <a:pt x="503" y="1470"/>
                    <a:pt x="503" y="1470"/>
                    <a:pt x="503" y="1470"/>
                  </a:cubicBezTo>
                  <a:cubicBezTo>
                    <a:pt x="512" y="1470"/>
                    <a:pt x="521" y="1470"/>
                    <a:pt x="531" y="1470"/>
                  </a:cubicBezTo>
                  <a:cubicBezTo>
                    <a:pt x="544" y="1470"/>
                    <a:pt x="563" y="1467"/>
                    <a:pt x="573" y="1477"/>
                  </a:cubicBezTo>
                  <a:cubicBezTo>
                    <a:pt x="573" y="1478"/>
                    <a:pt x="574" y="1478"/>
                    <a:pt x="574" y="1479"/>
                  </a:cubicBezTo>
                  <a:cubicBezTo>
                    <a:pt x="575" y="1479"/>
                    <a:pt x="575" y="1479"/>
                    <a:pt x="575" y="1479"/>
                  </a:cubicBezTo>
                  <a:cubicBezTo>
                    <a:pt x="575" y="1480"/>
                    <a:pt x="575" y="1480"/>
                    <a:pt x="575" y="1480"/>
                  </a:cubicBezTo>
                  <a:cubicBezTo>
                    <a:pt x="576" y="1480"/>
                    <a:pt x="576" y="1481"/>
                    <a:pt x="576" y="1481"/>
                  </a:cubicBezTo>
                  <a:cubicBezTo>
                    <a:pt x="577" y="1483"/>
                    <a:pt x="577" y="1485"/>
                    <a:pt x="577" y="1487"/>
                  </a:cubicBezTo>
                  <a:cubicBezTo>
                    <a:pt x="576" y="1497"/>
                    <a:pt x="568" y="1513"/>
                    <a:pt x="566" y="1519"/>
                  </a:cubicBezTo>
                  <a:close/>
                  <a:moveTo>
                    <a:pt x="784" y="1616"/>
                  </a:moveTo>
                  <a:cubicBezTo>
                    <a:pt x="784" y="1618"/>
                    <a:pt x="784" y="1618"/>
                    <a:pt x="784" y="1618"/>
                  </a:cubicBezTo>
                  <a:cubicBezTo>
                    <a:pt x="783" y="1625"/>
                    <a:pt x="781" y="1632"/>
                    <a:pt x="780" y="1639"/>
                  </a:cubicBezTo>
                  <a:cubicBezTo>
                    <a:pt x="776" y="1662"/>
                    <a:pt x="776" y="1662"/>
                    <a:pt x="776" y="1662"/>
                  </a:cubicBezTo>
                  <a:cubicBezTo>
                    <a:pt x="776" y="1667"/>
                    <a:pt x="774" y="1670"/>
                    <a:pt x="770" y="1673"/>
                  </a:cubicBezTo>
                  <a:cubicBezTo>
                    <a:pt x="770" y="1674"/>
                    <a:pt x="769" y="1674"/>
                    <a:pt x="769" y="1674"/>
                  </a:cubicBezTo>
                  <a:cubicBezTo>
                    <a:pt x="769" y="1675"/>
                    <a:pt x="768" y="1675"/>
                    <a:pt x="768" y="1675"/>
                  </a:cubicBezTo>
                  <a:cubicBezTo>
                    <a:pt x="767" y="1676"/>
                    <a:pt x="766" y="1677"/>
                    <a:pt x="765" y="1678"/>
                  </a:cubicBezTo>
                  <a:cubicBezTo>
                    <a:pt x="759" y="1683"/>
                    <a:pt x="751" y="1686"/>
                    <a:pt x="744" y="1687"/>
                  </a:cubicBezTo>
                  <a:cubicBezTo>
                    <a:pt x="744" y="1688"/>
                    <a:pt x="744" y="1688"/>
                    <a:pt x="744" y="1688"/>
                  </a:cubicBezTo>
                  <a:cubicBezTo>
                    <a:pt x="743" y="1688"/>
                    <a:pt x="743" y="1688"/>
                    <a:pt x="743" y="1688"/>
                  </a:cubicBezTo>
                  <a:cubicBezTo>
                    <a:pt x="740" y="1688"/>
                    <a:pt x="738" y="1689"/>
                    <a:pt x="735" y="1689"/>
                  </a:cubicBezTo>
                  <a:cubicBezTo>
                    <a:pt x="735" y="1689"/>
                    <a:pt x="734" y="1689"/>
                    <a:pt x="733" y="1689"/>
                  </a:cubicBezTo>
                  <a:cubicBezTo>
                    <a:pt x="730" y="1689"/>
                    <a:pt x="728" y="1690"/>
                    <a:pt x="725" y="1690"/>
                  </a:cubicBezTo>
                  <a:cubicBezTo>
                    <a:pt x="639" y="1690"/>
                    <a:pt x="639" y="1690"/>
                    <a:pt x="639" y="1690"/>
                  </a:cubicBezTo>
                  <a:cubicBezTo>
                    <a:pt x="629" y="1690"/>
                    <a:pt x="617" y="1688"/>
                    <a:pt x="609" y="1682"/>
                  </a:cubicBezTo>
                  <a:cubicBezTo>
                    <a:pt x="607" y="1681"/>
                    <a:pt x="606" y="1680"/>
                    <a:pt x="604" y="1678"/>
                  </a:cubicBezTo>
                  <a:cubicBezTo>
                    <a:pt x="603" y="1677"/>
                    <a:pt x="603" y="1676"/>
                    <a:pt x="602" y="1675"/>
                  </a:cubicBezTo>
                  <a:cubicBezTo>
                    <a:pt x="602" y="1674"/>
                    <a:pt x="602" y="1674"/>
                    <a:pt x="602" y="1674"/>
                  </a:cubicBezTo>
                  <a:cubicBezTo>
                    <a:pt x="600" y="1671"/>
                    <a:pt x="600" y="1667"/>
                    <a:pt x="601" y="1663"/>
                  </a:cubicBezTo>
                  <a:cubicBezTo>
                    <a:pt x="603" y="1657"/>
                    <a:pt x="603" y="1657"/>
                    <a:pt x="603" y="1657"/>
                  </a:cubicBezTo>
                  <a:cubicBezTo>
                    <a:pt x="603" y="1656"/>
                    <a:pt x="603" y="1655"/>
                    <a:pt x="604" y="1654"/>
                  </a:cubicBezTo>
                  <a:cubicBezTo>
                    <a:pt x="615" y="1616"/>
                    <a:pt x="615" y="1616"/>
                    <a:pt x="615" y="1616"/>
                  </a:cubicBezTo>
                  <a:cubicBezTo>
                    <a:pt x="615" y="1615"/>
                    <a:pt x="615" y="1615"/>
                    <a:pt x="616" y="1614"/>
                  </a:cubicBezTo>
                  <a:cubicBezTo>
                    <a:pt x="628" y="1585"/>
                    <a:pt x="681" y="1591"/>
                    <a:pt x="705" y="1591"/>
                  </a:cubicBezTo>
                  <a:cubicBezTo>
                    <a:pt x="716" y="1591"/>
                    <a:pt x="735" y="1590"/>
                    <a:pt x="753" y="1591"/>
                  </a:cubicBezTo>
                  <a:cubicBezTo>
                    <a:pt x="756" y="1592"/>
                    <a:pt x="759" y="1592"/>
                    <a:pt x="762" y="1593"/>
                  </a:cubicBezTo>
                  <a:cubicBezTo>
                    <a:pt x="762" y="1593"/>
                    <a:pt x="762" y="1593"/>
                    <a:pt x="763" y="1593"/>
                  </a:cubicBezTo>
                  <a:cubicBezTo>
                    <a:pt x="771" y="1595"/>
                    <a:pt x="779" y="1599"/>
                    <a:pt x="782" y="1605"/>
                  </a:cubicBezTo>
                  <a:cubicBezTo>
                    <a:pt x="782" y="1606"/>
                    <a:pt x="782" y="1606"/>
                    <a:pt x="783" y="1606"/>
                  </a:cubicBezTo>
                  <a:cubicBezTo>
                    <a:pt x="783" y="1607"/>
                    <a:pt x="783" y="1607"/>
                    <a:pt x="783" y="1607"/>
                  </a:cubicBezTo>
                  <a:cubicBezTo>
                    <a:pt x="783" y="1608"/>
                    <a:pt x="783" y="1608"/>
                    <a:pt x="783" y="1608"/>
                  </a:cubicBezTo>
                  <a:cubicBezTo>
                    <a:pt x="784" y="1610"/>
                    <a:pt x="785" y="1613"/>
                    <a:pt x="784" y="1616"/>
                  </a:cubicBezTo>
                  <a:close/>
                  <a:moveTo>
                    <a:pt x="800" y="1524"/>
                  </a:moveTo>
                  <a:cubicBezTo>
                    <a:pt x="799" y="1527"/>
                    <a:pt x="799" y="1527"/>
                    <a:pt x="799" y="1527"/>
                  </a:cubicBezTo>
                  <a:cubicBezTo>
                    <a:pt x="799" y="1529"/>
                    <a:pt x="798" y="1531"/>
                    <a:pt x="796" y="1533"/>
                  </a:cubicBezTo>
                  <a:cubicBezTo>
                    <a:pt x="796" y="1534"/>
                    <a:pt x="795" y="1534"/>
                    <a:pt x="795" y="1536"/>
                  </a:cubicBezTo>
                  <a:cubicBezTo>
                    <a:pt x="795" y="1536"/>
                    <a:pt x="795" y="1536"/>
                    <a:pt x="794" y="1536"/>
                  </a:cubicBezTo>
                  <a:cubicBezTo>
                    <a:pt x="779" y="1554"/>
                    <a:pt x="736" y="1549"/>
                    <a:pt x="716" y="1549"/>
                  </a:cubicBezTo>
                  <a:cubicBezTo>
                    <a:pt x="703" y="1549"/>
                    <a:pt x="690" y="1549"/>
                    <a:pt x="677" y="1549"/>
                  </a:cubicBezTo>
                  <a:cubicBezTo>
                    <a:pt x="666" y="1549"/>
                    <a:pt x="648" y="1547"/>
                    <a:pt x="642" y="1536"/>
                  </a:cubicBezTo>
                  <a:cubicBezTo>
                    <a:pt x="642" y="1534"/>
                    <a:pt x="642" y="1533"/>
                    <a:pt x="642" y="1532"/>
                  </a:cubicBezTo>
                  <a:cubicBezTo>
                    <a:pt x="641" y="1532"/>
                    <a:pt x="641" y="1531"/>
                    <a:pt x="641" y="1530"/>
                  </a:cubicBezTo>
                  <a:cubicBezTo>
                    <a:pt x="641" y="1529"/>
                    <a:pt x="642" y="1528"/>
                    <a:pt x="642" y="1527"/>
                  </a:cubicBezTo>
                  <a:cubicBezTo>
                    <a:pt x="642" y="1524"/>
                    <a:pt x="644" y="1520"/>
                    <a:pt x="645" y="1518"/>
                  </a:cubicBezTo>
                  <a:cubicBezTo>
                    <a:pt x="647" y="1509"/>
                    <a:pt x="649" y="1498"/>
                    <a:pt x="654" y="1490"/>
                  </a:cubicBezTo>
                  <a:cubicBezTo>
                    <a:pt x="654" y="1489"/>
                    <a:pt x="654" y="1489"/>
                    <a:pt x="654" y="1489"/>
                  </a:cubicBezTo>
                  <a:cubicBezTo>
                    <a:pt x="655" y="1486"/>
                    <a:pt x="657" y="1483"/>
                    <a:pt x="659" y="1481"/>
                  </a:cubicBezTo>
                  <a:cubicBezTo>
                    <a:pt x="661" y="1480"/>
                    <a:pt x="662" y="1479"/>
                    <a:pt x="664" y="1478"/>
                  </a:cubicBezTo>
                  <a:cubicBezTo>
                    <a:pt x="669" y="1474"/>
                    <a:pt x="675" y="1472"/>
                    <a:pt x="682" y="1471"/>
                  </a:cubicBezTo>
                  <a:cubicBezTo>
                    <a:pt x="683" y="1471"/>
                    <a:pt x="683" y="1471"/>
                    <a:pt x="684" y="1471"/>
                  </a:cubicBezTo>
                  <a:cubicBezTo>
                    <a:pt x="688" y="1470"/>
                    <a:pt x="694" y="1468"/>
                    <a:pt x="699" y="1468"/>
                  </a:cubicBezTo>
                  <a:cubicBezTo>
                    <a:pt x="706" y="1468"/>
                    <a:pt x="706" y="1468"/>
                    <a:pt x="706" y="1468"/>
                  </a:cubicBezTo>
                  <a:cubicBezTo>
                    <a:pt x="708" y="1468"/>
                    <a:pt x="712" y="1468"/>
                    <a:pt x="714" y="1468"/>
                  </a:cubicBezTo>
                  <a:cubicBezTo>
                    <a:pt x="729" y="1468"/>
                    <a:pt x="746" y="1468"/>
                    <a:pt x="761" y="1468"/>
                  </a:cubicBezTo>
                  <a:cubicBezTo>
                    <a:pt x="763" y="1468"/>
                    <a:pt x="765" y="1468"/>
                    <a:pt x="768" y="1468"/>
                  </a:cubicBezTo>
                  <a:cubicBezTo>
                    <a:pt x="770" y="1468"/>
                    <a:pt x="770" y="1468"/>
                    <a:pt x="770" y="1468"/>
                  </a:cubicBezTo>
                  <a:cubicBezTo>
                    <a:pt x="771" y="1468"/>
                    <a:pt x="771" y="1468"/>
                    <a:pt x="773" y="1468"/>
                  </a:cubicBezTo>
                  <a:cubicBezTo>
                    <a:pt x="775" y="1468"/>
                    <a:pt x="777" y="1468"/>
                    <a:pt x="779" y="1470"/>
                  </a:cubicBezTo>
                  <a:cubicBezTo>
                    <a:pt x="791" y="1471"/>
                    <a:pt x="805" y="1474"/>
                    <a:pt x="807" y="1484"/>
                  </a:cubicBezTo>
                  <a:cubicBezTo>
                    <a:pt x="807" y="1485"/>
                    <a:pt x="807" y="1485"/>
                    <a:pt x="807" y="1485"/>
                  </a:cubicBezTo>
                  <a:cubicBezTo>
                    <a:pt x="807" y="1485"/>
                    <a:pt x="807" y="1485"/>
                    <a:pt x="807" y="1486"/>
                  </a:cubicBezTo>
                  <a:cubicBezTo>
                    <a:pt x="808" y="1497"/>
                    <a:pt x="803" y="1513"/>
                    <a:pt x="800" y="1524"/>
                  </a:cubicBezTo>
                  <a:close/>
                  <a:moveTo>
                    <a:pt x="1038" y="1639"/>
                  </a:moveTo>
                  <a:cubicBezTo>
                    <a:pt x="1038" y="1645"/>
                    <a:pt x="1038" y="1652"/>
                    <a:pt x="1038" y="1659"/>
                  </a:cubicBezTo>
                  <a:cubicBezTo>
                    <a:pt x="1038" y="1662"/>
                    <a:pt x="1038" y="1662"/>
                    <a:pt x="1038" y="1662"/>
                  </a:cubicBezTo>
                  <a:cubicBezTo>
                    <a:pt x="1038" y="1665"/>
                    <a:pt x="1037" y="1670"/>
                    <a:pt x="1035" y="1673"/>
                  </a:cubicBezTo>
                  <a:cubicBezTo>
                    <a:pt x="1034" y="1674"/>
                    <a:pt x="1034" y="1674"/>
                    <a:pt x="1034" y="1674"/>
                  </a:cubicBezTo>
                  <a:cubicBezTo>
                    <a:pt x="1033" y="1675"/>
                    <a:pt x="1032" y="1676"/>
                    <a:pt x="1031" y="1677"/>
                  </a:cubicBezTo>
                  <a:cubicBezTo>
                    <a:pt x="1026" y="1682"/>
                    <a:pt x="1019" y="1685"/>
                    <a:pt x="1010" y="1687"/>
                  </a:cubicBezTo>
                  <a:cubicBezTo>
                    <a:pt x="1007" y="1688"/>
                    <a:pt x="1005" y="1688"/>
                    <a:pt x="1003" y="1688"/>
                  </a:cubicBezTo>
                  <a:cubicBezTo>
                    <a:pt x="1002" y="1688"/>
                    <a:pt x="1001" y="1688"/>
                    <a:pt x="1001" y="1689"/>
                  </a:cubicBezTo>
                  <a:cubicBezTo>
                    <a:pt x="998" y="1689"/>
                    <a:pt x="995" y="1689"/>
                    <a:pt x="993" y="1689"/>
                  </a:cubicBezTo>
                  <a:cubicBezTo>
                    <a:pt x="907" y="1689"/>
                    <a:pt x="907" y="1689"/>
                    <a:pt x="907" y="1689"/>
                  </a:cubicBezTo>
                  <a:cubicBezTo>
                    <a:pt x="897" y="1689"/>
                    <a:pt x="884" y="1687"/>
                    <a:pt x="875" y="1682"/>
                  </a:cubicBezTo>
                  <a:cubicBezTo>
                    <a:pt x="875" y="1681"/>
                    <a:pt x="875" y="1681"/>
                    <a:pt x="875" y="1681"/>
                  </a:cubicBezTo>
                  <a:cubicBezTo>
                    <a:pt x="874" y="1680"/>
                    <a:pt x="872" y="1679"/>
                    <a:pt x="870" y="1678"/>
                  </a:cubicBezTo>
                  <a:cubicBezTo>
                    <a:pt x="869" y="1677"/>
                    <a:pt x="868" y="1675"/>
                    <a:pt x="867" y="1674"/>
                  </a:cubicBezTo>
                  <a:cubicBezTo>
                    <a:pt x="867" y="1674"/>
                    <a:pt x="867" y="1674"/>
                    <a:pt x="867" y="1673"/>
                  </a:cubicBezTo>
                  <a:cubicBezTo>
                    <a:pt x="865" y="1670"/>
                    <a:pt x="864" y="1667"/>
                    <a:pt x="864" y="1662"/>
                  </a:cubicBezTo>
                  <a:cubicBezTo>
                    <a:pt x="865" y="1656"/>
                    <a:pt x="865" y="1656"/>
                    <a:pt x="865" y="1656"/>
                  </a:cubicBezTo>
                  <a:cubicBezTo>
                    <a:pt x="867" y="1643"/>
                    <a:pt x="868" y="1629"/>
                    <a:pt x="870" y="1616"/>
                  </a:cubicBezTo>
                  <a:cubicBezTo>
                    <a:pt x="870" y="1615"/>
                    <a:pt x="870" y="1615"/>
                    <a:pt x="870" y="1615"/>
                  </a:cubicBezTo>
                  <a:cubicBezTo>
                    <a:pt x="870" y="1615"/>
                    <a:pt x="870" y="1615"/>
                    <a:pt x="870" y="1614"/>
                  </a:cubicBezTo>
                  <a:cubicBezTo>
                    <a:pt x="875" y="1584"/>
                    <a:pt x="935" y="1591"/>
                    <a:pt x="957" y="1591"/>
                  </a:cubicBezTo>
                  <a:cubicBezTo>
                    <a:pt x="977" y="1591"/>
                    <a:pt x="1025" y="1585"/>
                    <a:pt x="1036" y="1608"/>
                  </a:cubicBezTo>
                  <a:cubicBezTo>
                    <a:pt x="1037" y="1610"/>
                    <a:pt x="1038" y="1612"/>
                    <a:pt x="1038" y="1615"/>
                  </a:cubicBezTo>
                  <a:cubicBezTo>
                    <a:pt x="1038" y="1639"/>
                    <a:pt x="1038" y="1639"/>
                    <a:pt x="1038" y="1639"/>
                  </a:cubicBezTo>
                  <a:close/>
                  <a:moveTo>
                    <a:pt x="1037" y="1524"/>
                  </a:moveTo>
                  <a:cubicBezTo>
                    <a:pt x="1037" y="1526"/>
                    <a:pt x="1037" y="1526"/>
                    <a:pt x="1037" y="1526"/>
                  </a:cubicBezTo>
                  <a:cubicBezTo>
                    <a:pt x="1037" y="1529"/>
                    <a:pt x="1036" y="1531"/>
                    <a:pt x="1035" y="1533"/>
                  </a:cubicBezTo>
                  <a:cubicBezTo>
                    <a:pt x="1024" y="1554"/>
                    <a:pt x="971" y="1549"/>
                    <a:pt x="952" y="1549"/>
                  </a:cubicBezTo>
                  <a:cubicBezTo>
                    <a:pt x="941" y="1549"/>
                    <a:pt x="930" y="1549"/>
                    <a:pt x="918" y="1549"/>
                  </a:cubicBezTo>
                  <a:cubicBezTo>
                    <a:pt x="908" y="1549"/>
                    <a:pt x="895" y="1547"/>
                    <a:pt x="885" y="1540"/>
                  </a:cubicBezTo>
                  <a:cubicBezTo>
                    <a:pt x="884" y="1539"/>
                    <a:pt x="884" y="1539"/>
                    <a:pt x="884" y="1539"/>
                  </a:cubicBezTo>
                  <a:cubicBezTo>
                    <a:pt x="883" y="1538"/>
                    <a:pt x="883" y="1538"/>
                    <a:pt x="883" y="1538"/>
                  </a:cubicBezTo>
                  <a:cubicBezTo>
                    <a:pt x="882" y="1537"/>
                    <a:pt x="882" y="1537"/>
                    <a:pt x="882" y="1536"/>
                  </a:cubicBezTo>
                  <a:cubicBezTo>
                    <a:pt x="882" y="1536"/>
                    <a:pt x="882" y="1536"/>
                    <a:pt x="881" y="1536"/>
                  </a:cubicBezTo>
                  <a:cubicBezTo>
                    <a:pt x="881" y="1534"/>
                    <a:pt x="880" y="1533"/>
                    <a:pt x="880" y="1532"/>
                  </a:cubicBezTo>
                  <a:cubicBezTo>
                    <a:pt x="879" y="1530"/>
                    <a:pt x="879" y="1529"/>
                    <a:pt x="879" y="1527"/>
                  </a:cubicBezTo>
                  <a:cubicBezTo>
                    <a:pt x="879" y="1525"/>
                    <a:pt x="879" y="1525"/>
                    <a:pt x="879" y="1525"/>
                  </a:cubicBezTo>
                  <a:cubicBezTo>
                    <a:pt x="880" y="1523"/>
                    <a:pt x="880" y="1520"/>
                    <a:pt x="880" y="1518"/>
                  </a:cubicBezTo>
                  <a:cubicBezTo>
                    <a:pt x="880" y="1517"/>
                    <a:pt x="880" y="1517"/>
                    <a:pt x="880" y="1517"/>
                  </a:cubicBezTo>
                  <a:cubicBezTo>
                    <a:pt x="881" y="1509"/>
                    <a:pt x="881" y="1499"/>
                    <a:pt x="883" y="1491"/>
                  </a:cubicBezTo>
                  <a:cubicBezTo>
                    <a:pt x="883" y="1488"/>
                    <a:pt x="883" y="1488"/>
                    <a:pt x="883" y="1488"/>
                  </a:cubicBezTo>
                  <a:cubicBezTo>
                    <a:pt x="884" y="1486"/>
                    <a:pt x="885" y="1483"/>
                    <a:pt x="887" y="1481"/>
                  </a:cubicBezTo>
                  <a:cubicBezTo>
                    <a:pt x="889" y="1479"/>
                    <a:pt x="891" y="1478"/>
                    <a:pt x="894" y="1476"/>
                  </a:cubicBezTo>
                  <a:cubicBezTo>
                    <a:pt x="895" y="1476"/>
                    <a:pt x="895" y="1475"/>
                    <a:pt x="896" y="1475"/>
                  </a:cubicBezTo>
                  <a:cubicBezTo>
                    <a:pt x="896" y="1475"/>
                    <a:pt x="897" y="1475"/>
                    <a:pt x="897" y="1474"/>
                  </a:cubicBezTo>
                  <a:cubicBezTo>
                    <a:pt x="898" y="1474"/>
                    <a:pt x="898" y="1474"/>
                    <a:pt x="898" y="1474"/>
                  </a:cubicBezTo>
                  <a:cubicBezTo>
                    <a:pt x="899" y="1473"/>
                    <a:pt x="901" y="1473"/>
                    <a:pt x="902" y="1472"/>
                  </a:cubicBezTo>
                  <a:cubicBezTo>
                    <a:pt x="903" y="1472"/>
                    <a:pt x="903" y="1472"/>
                    <a:pt x="904" y="1472"/>
                  </a:cubicBezTo>
                  <a:cubicBezTo>
                    <a:pt x="905" y="1471"/>
                    <a:pt x="907" y="1471"/>
                    <a:pt x="908" y="1471"/>
                  </a:cubicBezTo>
                  <a:cubicBezTo>
                    <a:pt x="909" y="1471"/>
                    <a:pt x="909" y="1470"/>
                    <a:pt x="910" y="1470"/>
                  </a:cubicBezTo>
                  <a:cubicBezTo>
                    <a:pt x="911" y="1470"/>
                    <a:pt x="912" y="1470"/>
                    <a:pt x="912" y="1470"/>
                  </a:cubicBezTo>
                  <a:cubicBezTo>
                    <a:pt x="916" y="1468"/>
                    <a:pt x="920" y="1468"/>
                    <a:pt x="925" y="1468"/>
                  </a:cubicBezTo>
                  <a:cubicBezTo>
                    <a:pt x="928" y="1468"/>
                    <a:pt x="928" y="1468"/>
                    <a:pt x="928" y="1468"/>
                  </a:cubicBezTo>
                  <a:cubicBezTo>
                    <a:pt x="932" y="1468"/>
                    <a:pt x="937" y="1468"/>
                    <a:pt x="941" y="1468"/>
                  </a:cubicBezTo>
                  <a:cubicBezTo>
                    <a:pt x="997" y="1468"/>
                    <a:pt x="997" y="1468"/>
                    <a:pt x="997" y="1468"/>
                  </a:cubicBezTo>
                  <a:cubicBezTo>
                    <a:pt x="998" y="1468"/>
                    <a:pt x="999" y="1468"/>
                    <a:pt x="1001" y="1468"/>
                  </a:cubicBezTo>
                  <a:cubicBezTo>
                    <a:pt x="1002" y="1468"/>
                    <a:pt x="1002" y="1468"/>
                    <a:pt x="1002" y="1468"/>
                  </a:cubicBezTo>
                  <a:cubicBezTo>
                    <a:pt x="1003" y="1468"/>
                    <a:pt x="1005" y="1468"/>
                    <a:pt x="1006" y="1468"/>
                  </a:cubicBezTo>
                  <a:cubicBezTo>
                    <a:pt x="1018" y="1470"/>
                    <a:pt x="1030" y="1473"/>
                    <a:pt x="1034" y="1483"/>
                  </a:cubicBezTo>
                  <a:cubicBezTo>
                    <a:pt x="1035" y="1483"/>
                    <a:pt x="1035" y="1484"/>
                    <a:pt x="1035" y="1485"/>
                  </a:cubicBezTo>
                  <a:cubicBezTo>
                    <a:pt x="1036" y="1485"/>
                    <a:pt x="1036" y="1485"/>
                    <a:pt x="1036" y="1485"/>
                  </a:cubicBezTo>
                  <a:cubicBezTo>
                    <a:pt x="1039" y="1497"/>
                    <a:pt x="1036" y="1512"/>
                    <a:pt x="1037" y="1524"/>
                  </a:cubicBezTo>
                  <a:close/>
                  <a:moveTo>
                    <a:pt x="231" y="1302"/>
                  </a:moveTo>
                  <a:cubicBezTo>
                    <a:pt x="172" y="1302"/>
                    <a:pt x="123" y="1254"/>
                    <a:pt x="123" y="1195"/>
                  </a:cubicBezTo>
                  <a:cubicBezTo>
                    <a:pt x="123" y="222"/>
                    <a:pt x="123" y="222"/>
                    <a:pt x="123" y="222"/>
                  </a:cubicBezTo>
                  <a:cubicBezTo>
                    <a:pt x="123" y="162"/>
                    <a:pt x="172" y="115"/>
                    <a:pt x="231" y="115"/>
                  </a:cubicBezTo>
                  <a:cubicBezTo>
                    <a:pt x="1818" y="115"/>
                    <a:pt x="1818" y="115"/>
                    <a:pt x="1818" y="115"/>
                  </a:cubicBezTo>
                  <a:cubicBezTo>
                    <a:pt x="1877" y="115"/>
                    <a:pt x="1925" y="162"/>
                    <a:pt x="1925" y="222"/>
                  </a:cubicBezTo>
                  <a:cubicBezTo>
                    <a:pt x="1925" y="1195"/>
                    <a:pt x="1925" y="1195"/>
                    <a:pt x="1925" y="1195"/>
                  </a:cubicBezTo>
                  <a:cubicBezTo>
                    <a:pt x="1925" y="1254"/>
                    <a:pt x="1877" y="1302"/>
                    <a:pt x="1818" y="1302"/>
                  </a:cubicBezTo>
                  <a:cubicBezTo>
                    <a:pt x="231" y="1302"/>
                    <a:pt x="231" y="1302"/>
                    <a:pt x="231" y="1302"/>
                  </a:cubicBezTo>
                  <a:close/>
                  <a:moveTo>
                    <a:pt x="1883" y="1533"/>
                  </a:moveTo>
                  <a:cubicBezTo>
                    <a:pt x="1883" y="1536"/>
                    <a:pt x="1882" y="1538"/>
                    <a:pt x="1880" y="1540"/>
                  </a:cubicBezTo>
                  <a:cubicBezTo>
                    <a:pt x="1879" y="1540"/>
                    <a:pt x="1879" y="1540"/>
                    <a:pt x="1879" y="1540"/>
                  </a:cubicBezTo>
                  <a:cubicBezTo>
                    <a:pt x="1879" y="1541"/>
                    <a:pt x="1879" y="1541"/>
                    <a:pt x="1878" y="1541"/>
                  </a:cubicBezTo>
                  <a:cubicBezTo>
                    <a:pt x="1878" y="1541"/>
                    <a:pt x="1878" y="1541"/>
                    <a:pt x="1877" y="1542"/>
                  </a:cubicBezTo>
                  <a:cubicBezTo>
                    <a:pt x="1877" y="1542"/>
                    <a:pt x="1876" y="1542"/>
                    <a:pt x="1876" y="1543"/>
                  </a:cubicBezTo>
                  <a:cubicBezTo>
                    <a:pt x="1875" y="1543"/>
                    <a:pt x="1875" y="1543"/>
                    <a:pt x="1874" y="1543"/>
                  </a:cubicBezTo>
                  <a:cubicBezTo>
                    <a:pt x="1863" y="1548"/>
                    <a:pt x="1849" y="1547"/>
                    <a:pt x="1837" y="1547"/>
                  </a:cubicBezTo>
                  <a:cubicBezTo>
                    <a:pt x="1777" y="1547"/>
                    <a:pt x="1777" y="1547"/>
                    <a:pt x="1777" y="1547"/>
                  </a:cubicBezTo>
                  <a:cubicBezTo>
                    <a:pt x="1765" y="1547"/>
                    <a:pt x="1753" y="1545"/>
                    <a:pt x="1742" y="1540"/>
                  </a:cubicBezTo>
                  <a:cubicBezTo>
                    <a:pt x="1738" y="1538"/>
                    <a:pt x="1734" y="1536"/>
                    <a:pt x="1731" y="1533"/>
                  </a:cubicBezTo>
                  <a:cubicBezTo>
                    <a:pt x="1728" y="1530"/>
                    <a:pt x="1725" y="1528"/>
                    <a:pt x="1723" y="1525"/>
                  </a:cubicBezTo>
                  <a:cubicBezTo>
                    <a:pt x="1721" y="1520"/>
                    <a:pt x="1721" y="1520"/>
                    <a:pt x="1721" y="1520"/>
                  </a:cubicBezTo>
                  <a:cubicBezTo>
                    <a:pt x="1715" y="1509"/>
                    <a:pt x="1706" y="1498"/>
                    <a:pt x="1701" y="1486"/>
                  </a:cubicBezTo>
                  <a:cubicBezTo>
                    <a:pt x="1697" y="1478"/>
                    <a:pt x="1701" y="1474"/>
                    <a:pt x="1708" y="1471"/>
                  </a:cubicBezTo>
                  <a:cubicBezTo>
                    <a:pt x="1710" y="1470"/>
                    <a:pt x="1712" y="1468"/>
                    <a:pt x="1715" y="1468"/>
                  </a:cubicBezTo>
                  <a:cubicBezTo>
                    <a:pt x="1719" y="1467"/>
                    <a:pt x="1724" y="1466"/>
                    <a:pt x="1729" y="1466"/>
                  </a:cubicBezTo>
                  <a:cubicBezTo>
                    <a:pt x="1737" y="1466"/>
                    <a:pt x="1737" y="1466"/>
                    <a:pt x="1737" y="1466"/>
                  </a:cubicBezTo>
                  <a:cubicBezTo>
                    <a:pt x="1754" y="1466"/>
                    <a:pt x="1769" y="1466"/>
                    <a:pt x="1785" y="1466"/>
                  </a:cubicBezTo>
                  <a:cubicBezTo>
                    <a:pt x="1786" y="1466"/>
                    <a:pt x="1786" y="1466"/>
                    <a:pt x="1786" y="1466"/>
                  </a:cubicBezTo>
                  <a:cubicBezTo>
                    <a:pt x="1801" y="1466"/>
                    <a:pt x="1801" y="1466"/>
                    <a:pt x="1801" y="1466"/>
                  </a:cubicBezTo>
                  <a:cubicBezTo>
                    <a:pt x="1807" y="1466"/>
                    <a:pt x="1813" y="1466"/>
                    <a:pt x="1818" y="1467"/>
                  </a:cubicBezTo>
                  <a:cubicBezTo>
                    <a:pt x="1821" y="1468"/>
                    <a:pt x="1825" y="1470"/>
                    <a:pt x="1828" y="1471"/>
                  </a:cubicBezTo>
                  <a:cubicBezTo>
                    <a:pt x="1829" y="1471"/>
                    <a:pt x="1829" y="1471"/>
                    <a:pt x="1830" y="1471"/>
                  </a:cubicBezTo>
                  <a:cubicBezTo>
                    <a:pt x="1830" y="1472"/>
                    <a:pt x="1830" y="1472"/>
                    <a:pt x="1831" y="1472"/>
                  </a:cubicBezTo>
                  <a:cubicBezTo>
                    <a:pt x="1832" y="1472"/>
                    <a:pt x="1832" y="1472"/>
                    <a:pt x="1832" y="1472"/>
                  </a:cubicBezTo>
                  <a:cubicBezTo>
                    <a:pt x="1838" y="1474"/>
                    <a:pt x="1842" y="1476"/>
                    <a:pt x="1846" y="1478"/>
                  </a:cubicBezTo>
                  <a:cubicBezTo>
                    <a:pt x="1849" y="1481"/>
                    <a:pt x="1852" y="1483"/>
                    <a:pt x="1854" y="1486"/>
                  </a:cubicBezTo>
                  <a:cubicBezTo>
                    <a:pt x="1867" y="1504"/>
                    <a:pt x="1867" y="1504"/>
                    <a:pt x="1867" y="1504"/>
                  </a:cubicBezTo>
                  <a:cubicBezTo>
                    <a:pt x="1870" y="1509"/>
                    <a:pt x="1877" y="1517"/>
                    <a:pt x="1880" y="1524"/>
                  </a:cubicBezTo>
                  <a:cubicBezTo>
                    <a:pt x="1882" y="1527"/>
                    <a:pt x="1883" y="1530"/>
                    <a:pt x="1883" y="1533"/>
                  </a:cubicBezTo>
                  <a:close/>
                  <a:moveTo>
                    <a:pt x="1121" y="1536"/>
                  </a:moveTo>
                  <a:cubicBezTo>
                    <a:pt x="1121" y="1536"/>
                    <a:pt x="1120" y="1536"/>
                    <a:pt x="1120" y="1534"/>
                  </a:cubicBezTo>
                  <a:cubicBezTo>
                    <a:pt x="1118" y="1532"/>
                    <a:pt x="1117" y="1529"/>
                    <a:pt x="1116" y="1526"/>
                  </a:cubicBezTo>
                  <a:cubicBezTo>
                    <a:pt x="1116" y="1523"/>
                    <a:pt x="1116" y="1523"/>
                    <a:pt x="1116" y="1523"/>
                  </a:cubicBezTo>
                  <a:cubicBezTo>
                    <a:pt x="1116" y="1521"/>
                    <a:pt x="1116" y="1519"/>
                    <a:pt x="1116" y="1517"/>
                  </a:cubicBezTo>
                  <a:cubicBezTo>
                    <a:pt x="1115" y="1509"/>
                    <a:pt x="1113" y="1499"/>
                    <a:pt x="1114" y="1490"/>
                  </a:cubicBezTo>
                  <a:cubicBezTo>
                    <a:pt x="1114" y="1488"/>
                    <a:pt x="1114" y="1488"/>
                    <a:pt x="1114" y="1488"/>
                  </a:cubicBezTo>
                  <a:cubicBezTo>
                    <a:pt x="1113" y="1485"/>
                    <a:pt x="1114" y="1482"/>
                    <a:pt x="1116" y="1480"/>
                  </a:cubicBezTo>
                  <a:cubicBezTo>
                    <a:pt x="1118" y="1478"/>
                    <a:pt x="1120" y="1476"/>
                    <a:pt x="1124" y="1474"/>
                  </a:cubicBezTo>
                  <a:cubicBezTo>
                    <a:pt x="1127" y="1472"/>
                    <a:pt x="1131" y="1471"/>
                    <a:pt x="1135" y="1470"/>
                  </a:cubicBezTo>
                  <a:cubicBezTo>
                    <a:pt x="1137" y="1470"/>
                    <a:pt x="1137" y="1470"/>
                    <a:pt x="1137" y="1470"/>
                  </a:cubicBezTo>
                  <a:cubicBezTo>
                    <a:pt x="1139" y="1468"/>
                    <a:pt x="1141" y="1468"/>
                    <a:pt x="1142" y="1468"/>
                  </a:cubicBezTo>
                  <a:cubicBezTo>
                    <a:pt x="1143" y="1468"/>
                    <a:pt x="1144" y="1468"/>
                    <a:pt x="1145" y="1468"/>
                  </a:cubicBezTo>
                  <a:cubicBezTo>
                    <a:pt x="1152" y="1467"/>
                    <a:pt x="1160" y="1467"/>
                    <a:pt x="1169" y="1467"/>
                  </a:cubicBezTo>
                  <a:cubicBezTo>
                    <a:pt x="1223" y="1467"/>
                    <a:pt x="1223" y="1467"/>
                    <a:pt x="1223" y="1467"/>
                  </a:cubicBezTo>
                  <a:cubicBezTo>
                    <a:pt x="1226" y="1467"/>
                    <a:pt x="1230" y="1467"/>
                    <a:pt x="1233" y="1468"/>
                  </a:cubicBezTo>
                  <a:cubicBezTo>
                    <a:pt x="1247" y="1470"/>
                    <a:pt x="1264" y="1474"/>
                    <a:pt x="1266" y="1487"/>
                  </a:cubicBezTo>
                  <a:cubicBezTo>
                    <a:pt x="1270" y="1499"/>
                    <a:pt x="1271" y="1512"/>
                    <a:pt x="1273" y="1524"/>
                  </a:cubicBezTo>
                  <a:cubicBezTo>
                    <a:pt x="1274" y="1526"/>
                    <a:pt x="1274" y="1526"/>
                    <a:pt x="1274" y="1526"/>
                  </a:cubicBezTo>
                  <a:cubicBezTo>
                    <a:pt x="1274" y="1528"/>
                    <a:pt x="1274" y="1531"/>
                    <a:pt x="1273" y="1533"/>
                  </a:cubicBezTo>
                  <a:cubicBezTo>
                    <a:pt x="1273" y="1533"/>
                    <a:pt x="1273" y="1534"/>
                    <a:pt x="1272" y="1534"/>
                  </a:cubicBezTo>
                  <a:cubicBezTo>
                    <a:pt x="1269" y="1541"/>
                    <a:pt x="1263" y="1544"/>
                    <a:pt x="1254" y="1546"/>
                  </a:cubicBezTo>
                  <a:cubicBezTo>
                    <a:pt x="1253" y="1546"/>
                    <a:pt x="1253" y="1546"/>
                    <a:pt x="1252" y="1546"/>
                  </a:cubicBezTo>
                  <a:cubicBezTo>
                    <a:pt x="1251" y="1547"/>
                    <a:pt x="1251" y="1547"/>
                    <a:pt x="1250" y="1547"/>
                  </a:cubicBezTo>
                  <a:cubicBezTo>
                    <a:pt x="1249" y="1547"/>
                    <a:pt x="1249" y="1547"/>
                    <a:pt x="1248" y="1547"/>
                  </a:cubicBezTo>
                  <a:cubicBezTo>
                    <a:pt x="1247" y="1547"/>
                    <a:pt x="1245" y="1548"/>
                    <a:pt x="1244" y="1548"/>
                  </a:cubicBezTo>
                  <a:cubicBezTo>
                    <a:pt x="1225" y="1550"/>
                    <a:pt x="1204" y="1548"/>
                    <a:pt x="1194" y="1548"/>
                  </a:cubicBezTo>
                  <a:cubicBezTo>
                    <a:pt x="1159" y="1548"/>
                    <a:pt x="1159" y="1548"/>
                    <a:pt x="1159" y="1548"/>
                  </a:cubicBezTo>
                  <a:cubicBezTo>
                    <a:pt x="1156" y="1548"/>
                    <a:pt x="1154" y="1548"/>
                    <a:pt x="1151" y="1548"/>
                  </a:cubicBezTo>
                  <a:cubicBezTo>
                    <a:pt x="1149" y="1548"/>
                    <a:pt x="1147" y="1547"/>
                    <a:pt x="1145" y="1547"/>
                  </a:cubicBezTo>
                  <a:cubicBezTo>
                    <a:pt x="1144" y="1547"/>
                    <a:pt x="1144" y="1547"/>
                    <a:pt x="1144" y="1547"/>
                  </a:cubicBezTo>
                  <a:cubicBezTo>
                    <a:pt x="1143" y="1547"/>
                    <a:pt x="1143" y="1547"/>
                    <a:pt x="1143" y="1547"/>
                  </a:cubicBezTo>
                  <a:cubicBezTo>
                    <a:pt x="1141" y="1546"/>
                    <a:pt x="1139" y="1546"/>
                    <a:pt x="1137" y="1545"/>
                  </a:cubicBezTo>
                  <a:cubicBezTo>
                    <a:pt x="1135" y="1545"/>
                    <a:pt x="1135" y="1544"/>
                    <a:pt x="1134" y="1544"/>
                  </a:cubicBezTo>
                  <a:cubicBezTo>
                    <a:pt x="1132" y="1543"/>
                    <a:pt x="1131" y="1543"/>
                    <a:pt x="1129" y="1542"/>
                  </a:cubicBezTo>
                  <a:cubicBezTo>
                    <a:pt x="1127" y="1541"/>
                    <a:pt x="1125" y="1539"/>
                    <a:pt x="1123" y="1538"/>
                  </a:cubicBezTo>
                  <a:cubicBezTo>
                    <a:pt x="1122" y="1537"/>
                    <a:pt x="1122" y="1537"/>
                    <a:pt x="1122" y="1537"/>
                  </a:cubicBezTo>
                  <a:lnTo>
                    <a:pt x="1121" y="1536"/>
                  </a:lnTo>
                  <a:close/>
                  <a:moveTo>
                    <a:pt x="1131" y="1673"/>
                  </a:moveTo>
                  <a:cubicBezTo>
                    <a:pt x="1128" y="1669"/>
                    <a:pt x="1127" y="1665"/>
                    <a:pt x="1126" y="1662"/>
                  </a:cubicBezTo>
                  <a:cubicBezTo>
                    <a:pt x="1126" y="1657"/>
                    <a:pt x="1126" y="1657"/>
                    <a:pt x="1126" y="1657"/>
                  </a:cubicBezTo>
                  <a:cubicBezTo>
                    <a:pt x="1125" y="1643"/>
                    <a:pt x="1124" y="1629"/>
                    <a:pt x="1123" y="1616"/>
                  </a:cubicBezTo>
                  <a:cubicBezTo>
                    <a:pt x="1123" y="1615"/>
                    <a:pt x="1123" y="1615"/>
                    <a:pt x="1123" y="1615"/>
                  </a:cubicBezTo>
                  <a:cubicBezTo>
                    <a:pt x="1123" y="1614"/>
                    <a:pt x="1123" y="1613"/>
                    <a:pt x="1123" y="1612"/>
                  </a:cubicBezTo>
                  <a:cubicBezTo>
                    <a:pt x="1126" y="1583"/>
                    <a:pt x="1188" y="1590"/>
                    <a:pt x="1208" y="1590"/>
                  </a:cubicBezTo>
                  <a:cubicBezTo>
                    <a:pt x="1231" y="1590"/>
                    <a:pt x="1275" y="1585"/>
                    <a:pt x="1288" y="1608"/>
                  </a:cubicBezTo>
                  <a:cubicBezTo>
                    <a:pt x="1290" y="1610"/>
                    <a:pt x="1292" y="1612"/>
                    <a:pt x="1292" y="1614"/>
                  </a:cubicBezTo>
                  <a:cubicBezTo>
                    <a:pt x="1293" y="1617"/>
                    <a:pt x="1293" y="1617"/>
                    <a:pt x="1293" y="1617"/>
                  </a:cubicBezTo>
                  <a:cubicBezTo>
                    <a:pt x="1294" y="1624"/>
                    <a:pt x="1295" y="1630"/>
                    <a:pt x="1297" y="1638"/>
                  </a:cubicBezTo>
                  <a:cubicBezTo>
                    <a:pt x="1301" y="1661"/>
                    <a:pt x="1301" y="1661"/>
                    <a:pt x="1301" y="1661"/>
                  </a:cubicBezTo>
                  <a:cubicBezTo>
                    <a:pt x="1302" y="1665"/>
                    <a:pt x="1301" y="1669"/>
                    <a:pt x="1300" y="1672"/>
                  </a:cubicBezTo>
                  <a:cubicBezTo>
                    <a:pt x="1299" y="1674"/>
                    <a:pt x="1297" y="1676"/>
                    <a:pt x="1295" y="1678"/>
                  </a:cubicBezTo>
                  <a:cubicBezTo>
                    <a:pt x="1295" y="1678"/>
                    <a:pt x="1294" y="1679"/>
                    <a:pt x="1293" y="1680"/>
                  </a:cubicBezTo>
                  <a:cubicBezTo>
                    <a:pt x="1293" y="1680"/>
                    <a:pt x="1292" y="1680"/>
                    <a:pt x="1292" y="1681"/>
                  </a:cubicBezTo>
                  <a:cubicBezTo>
                    <a:pt x="1291" y="1681"/>
                    <a:pt x="1291" y="1681"/>
                    <a:pt x="1291" y="1681"/>
                  </a:cubicBezTo>
                  <a:cubicBezTo>
                    <a:pt x="1290" y="1682"/>
                    <a:pt x="1288" y="1682"/>
                    <a:pt x="1286" y="1683"/>
                  </a:cubicBezTo>
                  <a:cubicBezTo>
                    <a:pt x="1285" y="1684"/>
                    <a:pt x="1284" y="1684"/>
                    <a:pt x="1283" y="1685"/>
                  </a:cubicBezTo>
                  <a:cubicBezTo>
                    <a:pt x="1282" y="1685"/>
                    <a:pt x="1281" y="1685"/>
                    <a:pt x="1281" y="1685"/>
                  </a:cubicBezTo>
                  <a:cubicBezTo>
                    <a:pt x="1280" y="1686"/>
                    <a:pt x="1279" y="1686"/>
                    <a:pt x="1278" y="1686"/>
                  </a:cubicBezTo>
                  <a:cubicBezTo>
                    <a:pt x="1277" y="1686"/>
                    <a:pt x="1276" y="1687"/>
                    <a:pt x="1275" y="1687"/>
                  </a:cubicBezTo>
                  <a:cubicBezTo>
                    <a:pt x="1274" y="1687"/>
                    <a:pt x="1274" y="1687"/>
                    <a:pt x="1274" y="1687"/>
                  </a:cubicBezTo>
                  <a:cubicBezTo>
                    <a:pt x="1272" y="1687"/>
                    <a:pt x="1270" y="1688"/>
                    <a:pt x="1268" y="1688"/>
                  </a:cubicBezTo>
                  <a:cubicBezTo>
                    <a:pt x="1265" y="1688"/>
                    <a:pt x="1263" y="1688"/>
                    <a:pt x="1261" y="1688"/>
                  </a:cubicBezTo>
                  <a:cubicBezTo>
                    <a:pt x="1260" y="1688"/>
                    <a:pt x="1260" y="1688"/>
                    <a:pt x="1260" y="1688"/>
                  </a:cubicBezTo>
                  <a:cubicBezTo>
                    <a:pt x="1232" y="1688"/>
                    <a:pt x="1204" y="1688"/>
                    <a:pt x="1175" y="1689"/>
                  </a:cubicBezTo>
                  <a:cubicBezTo>
                    <a:pt x="1172" y="1689"/>
                    <a:pt x="1169" y="1688"/>
                    <a:pt x="1166" y="1688"/>
                  </a:cubicBezTo>
                  <a:cubicBezTo>
                    <a:pt x="1165" y="1688"/>
                    <a:pt x="1164" y="1688"/>
                    <a:pt x="1164" y="1688"/>
                  </a:cubicBezTo>
                  <a:cubicBezTo>
                    <a:pt x="1161" y="1687"/>
                    <a:pt x="1159" y="1687"/>
                    <a:pt x="1157" y="1687"/>
                  </a:cubicBezTo>
                  <a:cubicBezTo>
                    <a:pt x="1156" y="1686"/>
                    <a:pt x="1156" y="1686"/>
                    <a:pt x="1156" y="1686"/>
                  </a:cubicBezTo>
                  <a:cubicBezTo>
                    <a:pt x="1153" y="1686"/>
                    <a:pt x="1151" y="1685"/>
                    <a:pt x="1149" y="1684"/>
                  </a:cubicBezTo>
                  <a:cubicBezTo>
                    <a:pt x="1148" y="1684"/>
                    <a:pt x="1147" y="1683"/>
                    <a:pt x="1147" y="1683"/>
                  </a:cubicBezTo>
                  <a:cubicBezTo>
                    <a:pt x="1145" y="1683"/>
                    <a:pt x="1144" y="1682"/>
                    <a:pt x="1143" y="1681"/>
                  </a:cubicBezTo>
                  <a:cubicBezTo>
                    <a:pt x="1142" y="1681"/>
                    <a:pt x="1142" y="1681"/>
                    <a:pt x="1142" y="1681"/>
                  </a:cubicBezTo>
                  <a:cubicBezTo>
                    <a:pt x="1138" y="1679"/>
                    <a:pt x="1133" y="1676"/>
                    <a:pt x="1131" y="1673"/>
                  </a:cubicBezTo>
                  <a:close/>
                  <a:moveTo>
                    <a:pt x="1333" y="1839"/>
                  </a:moveTo>
                  <a:cubicBezTo>
                    <a:pt x="1331" y="1843"/>
                    <a:pt x="1328" y="1846"/>
                    <a:pt x="1324" y="1849"/>
                  </a:cubicBezTo>
                  <a:cubicBezTo>
                    <a:pt x="1320" y="1852"/>
                    <a:pt x="1315" y="1855"/>
                    <a:pt x="1309" y="1856"/>
                  </a:cubicBezTo>
                  <a:cubicBezTo>
                    <a:pt x="1303" y="1858"/>
                    <a:pt x="1297" y="1859"/>
                    <a:pt x="1290" y="1859"/>
                  </a:cubicBezTo>
                  <a:cubicBezTo>
                    <a:pt x="1271" y="1859"/>
                    <a:pt x="1271" y="1859"/>
                    <a:pt x="1271" y="1859"/>
                  </a:cubicBezTo>
                  <a:cubicBezTo>
                    <a:pt x="1270" y="1859"/>
                    <a:pt x="1270" y="1859"/>
                    <a:pt x="1270" y="1859"/>
                  </a:cubicBezTo>
                  <a:cubicBezTo>
                    <a:pt x="1244" y="1859"/>
                    <a:pt x="1219" y="1859"/>
                    <a:pt x="1193" y="1859"/>
                  </a:cubicBezTo>
                  <a:cubicBezTo>
                    <a:pt x="1190" y="1859"/>
                    <a:pt x="1187" y="1859"/>
                    <a:pt x="1184" y="1859"/>
                  </a:cubicBezTo>
                  <a:cubicBezTo>
                    <a:pt x="1183" y="1859"/>
                    <a:pt x="1183" y="1859"/>
                    <a:pt x="1182" y="1859"/>
                  </a:cubicBezTo>
                  <a:cubicBezTo>
                    <a:pt x="1179" y="1858"/>
                    <a:pt x="1177" y="1858"/>
                    <a:pt x="1174" y="1857"/>
                  </a:cubicBezTo>
                  <a:cubicBezTo>
                    <a:pt x="1174" y="1857"/>
                    <a:pt x="1174" y="1857"/>
                    <a:pt x="1173" y="1857"/>
                  </a:cubicBezTo>
                  <a:cubicBezTo>
                    <a:pt x="1161" y="1854"/>
                    <a:pt x="1150" y="1848"/>
                    <a:pt x="1144" y="1839"/>
                  </a:cubicBezTo>
                  <a:cubicBezTo>
                    <a:pt x="1143" y="1838"/>
                    <a:pt x="1142" y="1836"/>
                    <a:pt x="1142" y="1834"/>
                  </a:cubicBezTo>
                  <a:cubicBezTo>
                    <a:pt x="1141" y="1832"/>
                    <a:pt x="1141" y="1831"/>
                    <a:pt x="1141" y="1830"/>
                  </a:cubicBezTo>
                  <a:cubicBezTo>
                    <a:pt x="1140" y="1829"/>
                    <a:pt x="1140" y="1828"/>
                    <a:pt x="1140" y="1827"/>
                  </a:cubicBezTo>
                  <a:cubicBezTo>
                    <a:pt x="1140" y="1826"/>
                    <a:pt x="1140" y="1826"/>
                    <a:pt x="1140" y="1826"/>
                  </a:cubicBezTo>
                  <a:cubicBezTo>
                    <a:pt x="1139" y="1824"/>
                    <a:pt x="1139" y="1824"/>
                    <a:pt x="1139" y="1824"/>
                  </a:cubicBezTo>
                  <a:cubicBezTo>
                    <a:pt x="1138" y="1811"/>
                    <a:pt x="1137" y="1796"/>
                    <a:pt x="1135" y="1782"/>
                  </a:cubicBezTo>
                  <a:cubicBezTo>
                    <a:pt x="1135" y="1779"/>
                    <a:pt x="1135" y="1777"/>
                    <a:pt x="1135" y="1775"/>
                  </a:cubicBezTo>
                  <a:cubicBezTo>
                    <a:pt x="1134" y="1768"/>
                    <a:pt x="1134" y="1768"/>
                    <a:pt x="1134" y="1768"/>
                  </a:cubicBezTo>
                  <a:cubicBezTo>
                    <a:pt x="1134" y="1766"/>
                    <a:pt x="1134" y="1766"/>
                    <a:pt x="1134" y="1766"/>
                  </a:cubicBezTo>
                  <a:cubicBezTo>
                    <a:pt x="1134" y="1764"/>
                    <a:pt x="1134" y="1763"/>
                    <a:pt x="1135" y="1762"/>
                  </a:cubicBezTo>
                  <a:cubicBezTo>
                    <a:pt x="1135" y="1761"/>
                    <a:pt x="1135" y="1760"/>
                    <a:pt x="1135" y="1760"/>
                  </a:cubicBezTo>
                  <a:cubicBezTo>
                    <a:pt x="1137" y="1759"/>
                    <a:pt x="1137" y="1758"/>
                    <a:pt x="1137" y="1757"/>
                  </a:cubicBezTo>
                  <a:cubicBezTo>
                    <a:pt x="1138" y="1756"/>
                    <a:pt x="1138" y="1756"/>
                    <a:pt x="1138" y="1755"/>
                  </a:cubicBezTo>
                  <a:cubicBezTo>
                    <a:pt x="1139" y="1753"/>
                    <a:pt x="1140" y="1752"/>
                    <a:pt x="1141" y="1751"/>
                  </a:cubicBezTo>
                  <a:cubicBezTo>
                    <a:pt x="1142" y="1750"/>
                    <a:pt x="1143" y="1750"/>
                    <a:pt x="1143" y="1749"/>
                  </a:cubicBezTo>
                  <a:cubicBezTo>
                    <a:pt x="1144" y="1748"/>
                    <a:pt x="1145" y="1748"/>
                    <a:pt x="1146" y="1747"/>
                  </a:cubicBezTo>
                  <a:cubicBezTo>
                    <a:pt x="1147" y="1747"/>
                    <a:pt x="1147" y="1746"/>
                    <a:pt x="1147" y="1746"/>
                  </a:cubicBezTo>
                  <a:cubicBezTo>
                    <a:pt x="1148" y="1746"/>
                    <a:pt x="1148" y="1746"/>
                    <a:pt x="1148" y="1746"/>
                  </a:cubicBezTo>
                  <a:cubicBezTo>
                    <a:pt x="1150" y="1745"/>
                    <a:pt x="1151" y="1744"/>
                    <a:pt x="1153" y="1743"/>
                  </a:cubicBezTo>
                  <a:cubicBezTo>
                    <a:pt x="1154" y="1743"/>
                    <a:pt x="1154" y="1742"/>
                    <a:pt x="1154" y="1742"/>
                  </a:cubicBezTo>
                  <a:cubicBezTo>
                    <a:pt x="1155" y="1742"/>
                    <a:pt x="1155" y="1742"/>
                    <a:pt x="1155" y="1742"/>
                  </a:cubicBezTo>
                  <a:cubicBezTo>
                    <a:pt x="1156" y="1742"/>
                    <a:pt x="1156" y="1742"/>
                    <a:pt x="1157" y="1741"/>
                  </a:cubicBezTo>
                  <a:cubicBezTo>
                    <a:pt x="1158" y="1741"/>
                    <a:pt x="1160" y="1740"/>
                    <a:pt x="1161" y="1740"/>
                  </a:cubicBezTo>
                  <a:cubicBezTo>
                    <a:pt x="1162" y="1740"/>
                    <a:pt x="1163" y="1739"/>
                    <a:pt x="1164" y="1739"/>
                  </a:cubicBezTo>
                  <a:cubicBezTo>
                    <a:pt x="1165" y="1739"/>
                    <a:pt x="1166" y="1739"/>
                    <a:pt x="1166" y="1739"/>
                  </a:cubicBezTo>
                  <a:cubicBezTo>
                    <a:pt x="1170" y="1738"/>
                    <a:pt x="1173" y="1738"/>
                    <a:pt x="1176" y="1738"/>
                  </a:cubicBezTo>
                  <a:cubicBezTo>
                    <a:pt x="1177" y="1738"/>
                    <a:pt x="1177" y="1738"/>
                    <a:pt x="1177" y="1738"/>
                  </a:cubicBezTo>
                  <a:cubicBezTo>
                    <a:pt x="1178" y="1738"/>
                    <a:pt x="1179" y="1738"/>
                    <a:pt x="1180" y="1738"/>
                  </a:cubicBezTo>
                  <a:cubicBezTo>
                    <a:pt x="1184" y="1738"/>
                    <a:pt x="1184" y="1738"/>
                    <a:pt x="1184" y="1738"/>
                  </a:cubicBezTo>
                  <a:cubicBezTo>
                    <a:pt x="1189" y="1737"/>
                    <a:pt x="1193" y="1737"/>
                    <a:pt x="1198" y="1737"/>
                  </a:cubicBezTo>
                  <a:cubicBezTo>
                    <a:pt x="1202" y="1737"/>
                    <a:pt x="1206" y="1737"/>
                    <a:pt x="1209" y="1737"/>
                  </a:cubicBezTo>
                  <a:cubicBezTo>
                    <a:pt x="1246" y="1737"/>
                    <a:pt x="1246" y="1737"/>
                    <a:pt x="1246" y="1737"/>
                  </a:cubicBezTo>
                  <a:cubicBezTo>
                    <a:pt x="1256" y="1737"/>
                    <a:pt x="1267" y="1737"/>
                    <a:pt x="1276" y="1738"/>
                  </a:cubicBezTo>
                  <a:cubicBezTo>
                    <a:pt x="1278" y="1738"/>
                    <a:pt x="1279" y="1738"/>
                    <a:pt x="1281" y="1738"/>
                  </a:cubicBezTo>
                  <a:cubicBezTo>
                    <a:pt x="1282" y="1739"/>
                    <a:pt x="1283" y="1739"/>
                    <a:pt x="1284" y="1739"/>
                  </a:cubicBezTo>
                  <a:cubicBezTo>
                    <a:pt x="1284" y="1739"/>
                    <a:pt x="1285" y="1739"/>
                    <a:pt x="1286" y="1739"/>
                  </a:cubicBezTo>
                  <a:cubicBezTo>
                    <a:pt x="1286" y="1739"/>
                    <a:pt x="1287" y="1739"/>
                    <a:pt x="1287" y="1740"/>
                  </a:cubicBezTo>
                  <a:cubicBezTo>
                    <a:pt x="1288" y="1740"/>
                    <a:pt x="1288" y="1740"/>
                    <a:pt x="1290" y="1740"/>
                  </a:cubicBezTo>
                  <a:cubicBezTo>
                    <a:pt x="1291" y="1740"/>
                    <a:pt x="1293" y="1741"/>
                    <a:pt x="1295" y="1742"/>
                  </a:cubicBezTo>
                  <a:cubicBezTo>
                    <a:pt x="1296" y="1742"/>
                    <a:pt x="1297" y="1742"/>
                    <a:pt x="1298" y="1743"/>
                  </a:cubicBezTo>
                  <a:cubicBezTo>
                    <a:pt x="1299" y="1743"/>
                    <a:pt x="1299" y="1743"/>
                    <a:pt x="1300" y="1744"/>
                  </a:cubicBezTo>
                  <a:cubicBezTo>
                    <a:pt x="1302" y="1744"/>
                    <a:pt x="1303" y="1745"/>
                    <a:pt x="1304" y="1746"/>
                  </a:cubicBezTo>
                  <a:cubicBezTo>
                    <a:pt x="1309" y="1748"/>
                    <a:pt x="1313" y="1751"/>
                    <a:pt x="1316" y="1755"/>
                  </a:cubicBezTo>
                  <a:cubicBezTo>
                    <a:pt x="1320" y="1758"/>
                    <a:pt x="1322" y="1762"/>
                    <a:pt x="1323" y="1766"/>
                  </a:cubicBezTo>
                  <a:cubicBezTo>
                    <a:pt x="1328" y="1790"/>
                    <a:pt x="1328" y="1790"/>
                    <a:pt x="1328" y="1790"/>
                  </a:cubicBezTo>
                  <a:cubicBezTo>
                    <a:pt x="1329" y="1801"/>
                    <a:pt x="1331" y="1810"/>
                    <a:pt x="1333" y="1819"/>
                  </a:cubicBezTo>
                  <a:cubicBezTo>
                    <a:pt x="1334" y="1825"/>
                    <a:pt x="1334" y="1825"/>
                    <a:pt x="1334" y="1825"/>
                  </a:cubicBezTo>
                  <a:cubicBezTo>
                    <a:pt x="1335" y="1830"/>
                    <a:pt x="1335" y="1835"/>
                    <a:pt x="1333" y="1839"/>
                  </a:cubicBezTo>
                  <a:close/>
                  <a:moveTo>
                    <a:pt x="1493" y="1533"/>
                  </a:moveTo>
                  <a:cubicBezTo>
                    <a:pt x="1490" y="1531"/>
                    <a:pt x="1487" y="1528"/>
                    <a:pt x="1486" y="1525"/>
                  </a:cubicBezTo>
                  <a:cubicBezTo>
                    <a:pt x="1484" y="1520"/>
                    <a:pt x="1484" y="1520"/>
                    <a:pt x="1484" y="1520"/>
                  </a:cubicBezTo>
                  <a:cubicBezTo>
                    <a:pt x="1482" y="1513"/>
                    <a:pt x="1479" y="1506"/>
                    <a:pt x="1477" y="1498"/>
                  </a:cubicBezTo>
                  <a:cubicBezTo>
                    <a:pt x="1475" y="1494"/>
                    <a:pt x="1472" y="1489"/>
                    <a:pt x="1472" y="1484"/>
                  </a:cubicBezTo>
                  <a:cubicBezTo>
                    <a:pt x="1472" y="1484"/>
                    <a:pt x="1472" y="1483"/>
                    <a:pt x="1472" y="1482"/>
                  </a:cubicBezTo>
                  <a:cubicBezTo>
                    <a:pt x="1472" y="1481"/>
                    <a:pt x="1472" y="1481"/>
                    <a:pt x="1472" y="1481"/>
                  </a:cubicBezTo>
                  <a:cubicBezTo>
                    <a:pt x="1473" y="1480"/>
                    <a:pt x="1472" y="1480"/>
                    <a:pt x="1473" y="1479"/>
                  </a:cubicBezTo>
                  <a:cubicBezTo>
                    <a:pt x="1479" y="1465"/>
                    <a:pt x="1503" y="1467"/>
                    <a:pt x="1515" y="1467"/>
                  </a:cubicBezTo>
                  <a:cubicBezTo>
                    <a:pt x="1576" y="1466"/>
                    <a:pt x="1576" y="1466"/>
                    <a:pt x="1576" y="1466"/>
                  </a:cubicBezTo>
                  <a:cubicBezTo>
                    <a:pt x="1581" y="1466"/>
                    <a:pt x="1586" y="1467"/>
                    <a:pt x="1591" y="1468"/>
                  </a:cubicBezTo>
                  <a:cubicBezTo>
                    <a:pt x="1593" y="1468"/>
                    <a:pt x="1595" y="1468"/>
                    <a:pt x="1596" y="1470"/>
                  </a:cubicBezTo>
                  <a:cubicBezTo>
                    <a:pt x="1596" y="1470"/>
                    <a:pt x="1597" y="1470"/>
                    <a:pt x="1598" y="1470"/>
                  </a:cubicBezTo>
                  <a:cubicBezTo>
                    <a:pt x="1599" y="1470"/>
                    <a:pt x="1600" y="1471"/>
                    <a:pt x="1600" y="1471"/>
                  </a:cubicBezTo>
                  <a:cubicBezTo>
                    <a:pt x="1602" y="1471"/>
                    <a:pt x="1604" y="1472"/>
                    <a:pt x="1605" y="1473"/>
                  </a:cubicBezTo>
                  <a:cubicBezTo>
                    <a:pt x="1606" y="1473"/>
                    <a:pt x="1606" y="1473"/>
                    <a:pt x="1606" y="1473"/>
                  </a:cubicBezTo>
                  <a:cubicBezTo>
                    <a:pt x="1606" y="1473"/>
                    <a:pt x="1606" y="1473"/>
                    <a:pt x="1607" y="1473"/>
                  </a:cubicBezTo>
                  <a:cubicBezTo>
                    <a:pt x="1608" y="1474"/>
                    <a:pt x="1609" y="1474"/>
                    <a:pt x="1611" y="1475"/>
                  </a:cubicBezTo>
                  <a:cubicBezTo>
                    <a:pt x="1612" y="1476"/>
                    <a:pt x="1613" y="1476"/>
                    <a:pt x="1613" y="1476"/>
                  </a:cubicBezTo>
                  <a:cubicBezTo>
                    <a:pt x="1614" y="1477"/>
                    <a:pt x="1614" y="1477"/>
                    <a:pt x="1615" y="1477"/>
                  </a:cubicBezTo>
                  <a:cubicBezTo>
                    <a:pt x="1615" y="1478"/>
                    <a:pt x="1615" y="1478"/>
                    <a:pt x="1616" y="1478"/>
                  </a:cubicBezTo>
                  <a:cubicBezTo>
                    <a:pt x="1617" y="1479"/>
                    <a:pt x="1617" y="1479"/>
                    <a:pt x="1617" y="1479"/>
                  </a:cubicBezTo>
                  <a:cubicBezTo>
                    <a:pt x="1620" y="1481"/>
                    <a:pt x="1624" y="1484"/>
                    <a:pt x="1625" y="1487"/>
                  </a:cubicBezTo>
                  <a:cubicBezTo>
                    <a:pt x="1631" y="1495"/>
                    <a:pt x="1634" y="1506"/>
                    <a:pt x="1638" y="1514"/>
                  </a:cubicBezTo>
                  <a:cubicBezTo>
                    <a:pt x="1640" y="1519"/>
                    <a:pt x="1644" y="1523"/>
                    <a:pt x="1645" y="1528"/>
                  </a:cubicBezTo>
                  <a:cubicBezTo>
                    <a:pt x="1645" y="1529"/>
                    <a:pt x="1645" y="1529"/>
                    <a:pt x="1645" y="1529"/>
                  </a:cubicBezTo>
                  <a:cubicBezTo>
                    <a:pt x="1646" y="1539"/>
                    <a:pt x="1638" y="1543"/>
                    <a:pt x="1630" y="1545"/>
                  </a:cubicBezTo>
                  <a:cubicBezTo>
                    <a:pt x="1629" y="1545"/>
                    <a:pt x="1629" y="1545"/>
                    <a:pt x="1629" y="1546"/>
                  </a:cubicBezTo>
                  <a:cubicBezTo>
                    <a:pt x="1628" y="1546"/>
                    <a:pt x="1628" y="1546"/>
                    <a:pt x="1627" y="1546"/>
                  </a:cubicBezTo>
                  <a:cubicBezTo>
                    <a:pt x="1626" y="1546"/>
                    <a:pt x="1624" y="1546"/>
                    <a:pt x="1623" y="1547"/>
                  </a:cubicBezTo>
                  <a:cubicBezTo>
                    <a:pt x="1621" y="1547"/>
                    <a:pt x="1621" y="1547"/>
                    <a:pt x="1620" y="1547"/>
                  </a:cubicBezTo>
                  <a:cubicBezTo>
                    <a:pt x="1619" y="1547"/>
                    <a:pt x="1617" y="1547"/>
                    <a:pt x="1616" y="1547"/>
                  </a:cubicBezTo>
                  <a:cubicBezTo>
                    <a:pt x="1615" y="1547"/>
                    <a:pt x="1614" y="1547"/>
                    <a:pt x="1613" y="1547"/>
                  </a:cubicBezTo>
                  <a:cubicBezTo>
                    <a:pt x="1611" y="1547"/>
                    <a:pt x="1611" y="1547"/>
                    <a:pt x="1611" y="1547"/>
                  </a:cubicBezTo>
                  <a:cubicBezTo>
                    <a:pt x="1602" y="1547"/>
                    <a:pt x="1593" y="1547"/>
                    <a:pt x="1583" y="1547"/>
                  </a:cubicBezTo>
                  <a:cubicBezTo>
                    <a:pt x="1568" y="1547"/>
                    <a:pt x="1552" y="1547"/>
                    <a:pt x="1537" y="1547"/>
                  </a:cubicBezTo>
                  <a:cubicBezTo>
                    <a:pt x="1525" y="1547"/>
                    <a:pt x="1514" y="1546"/>
                    <a:pt x="1505" y="1541"/>
                  </a:cubicBezTo>
                  <a:cubicBezTo>
                    <a:pt x="1499" y="1539"/>
                    <a:pt x="1495" y="1537"/>
                    <a:pt x="1493" y="1533"/>
                  </a:cubicBezTo>
                  <a:close/>
                  <a:moveTo>
                    <a:pt x="1544" y="1672"/>
                  </a:moveTo>
                  <a:cubicBezTo>
                    <a:pt x="1541" y="1667"/>
                    <a:pt x="1538" y="1664"/>
                    <a:pt x="1537" y="1661"/>
                  </a:cubicBezTo>
                  <a:cubicBezTo>
                    <a:pt x="1528" y="1638"/>
                    <a:pt x="1528" y="1638"/>
                    <a:pt x="1528" y="1638"/>
                  </a:cubicBezTo>
                  <a:cubicBezTo>
                    <a:pt x="1525" y="1630"/>
                    <a:pt x="1523" y="1624"/>
                    <a:pt x="1520" y="1617"/>
                  </a:cubicBezTo>
                  <a:cubicBezTo>
                    <a:pt x="1519" y="1614"/>
                    <a:pt x="1519" y="1614"/>
                    <a:pt x="1519" y="1614"/>
                  </a:cubicBezTo>
                  <a:cubicBezTo>
                    <a:pt x="1518" y="1610"/>
                    <a:pt x="1518" y="1607"/>
                    <a:pt x="1519" y="1604"/>
                  </a:cubicBezTo>
                  <a:cubicBezTo>
                    <a:pt x="1520" y="1601"/>
                    <a:pt x="1521" y="1600"/>
                    <a:pt x="1523" y="1598"/>
                  </a:cubicBezTo>
                  <a:cubicBezTo>
                    <a:pt x="1523" y="1598"/>
                    <a:pt x="1523" y="1598"/>
                    <a:pt x="1524" y="1597"/>
                  </a:cubicBezTo>
                  <a:cubicBezTo>
                    <a:pt x="1525" y="1596"/>
                    <a:pt x="1525" y="1596"/>
                    <a:pt x="1525" y="1596"/>
                  </a:cubicBezTo>
                  <a:cubicBezTo>
                    <a:pt x="1528" y="1594"/>
                    <a:pt x="1533" y="1592"/>
                    <a:pt x="1537" y="1591"/>
                  </a:cubicBezTo>
                  <a:cubicBezTo>
                    <a:pt x="1541" y="1590"/>
                    <a:pt x="1545" y="1590"/>
                    <a:pt x="1549" y="1589"/>
                  </a:cubicBezTo>
                  <a:cubicBezTo>
                    <a:pt x="1566" y="1588"/>
                    <a:pt x="1583" y="1589"/>
                    <a:pt x="1591" y="1589"/>
                  </a:cubicBezTo>
                  <a:cubicBezTo>
                    <a:pt x="1620" y="1589"/>
                    <a:pt x="1671" y="1583"/>
                    <a:pt x="1688" y="1613"/>
                  </a:cubicBezTo>
                  <a:cubicBezTo>
                    <a:pt x="1688" y="1614"/>
                    <a:pt x="1688" y="1614"/>
                    <a:pt x="1688" y="1614"/>
                  </a:cubicBezTo>
                  <a:cubicBezTo>
                    <a:pt x="1694" y="1626"/>
                    <a:pt x="1700" y="1639"/>
                    <a:pt x="1706" y="1651"/>
                  </a:cubicBezTo>
                  <a:cubicBezTo>
                    <a:pt x="1708" y="1655"/>
                    <a:pt x="1711" y="1659"/>
                    <a:pt x="1712" y="1664"/>
                  </a:cubicBezTo>
                  <a:cubicBezTo>
                    <a:pt x="1712" y="1665"/>
                    <a:pt x="1712" y="1667"/>
                    <a:pt x="1712" y="1667"/>
                  </a:cubicBezTo>
                  <a:cubicBezTo>
                    <a:pt x="1712" y="1669"/>
                    <a:pt x="1712" y="1670"/>
                    <a:pt x="1712" y="1671"/>
                  </a:cubicBezTo>
                  <a:cubicBezTo>
                    <a:pt x="1712" y="1672"/>
                    <a:pt x="1712" y="1672"/>
                    <a:pt x="1712" y="1672"/>
                  </a:cubicBezTo>
                  <a:cubicBezTo>
                    <a:pt x="1712" y="1673"/>
                    <a:pt x="1711" y="1674"/>
                    <a:pt x="1710" y="1675"/>
                  </a:cubicBezTo>
                  <a:cubicBezTo>
                    <a:pt x="1710" y="1676"/>
                    <a:pt x="1710" y="1676"/>
                    <a:pt x="1710" y="1676"/>
                  </a:cubicBezTo>
                  <a:cubicBezTo>
                    <a:pt x="1709" y="1677"/>
                    <a:pt x="1708" y="1678"/>
                    <a:pt x="1707" y="1679"/>
                  </a:cubicBezTo>
                  <a:cubicBezTo>
                    <a:pt x="1706" y="1680"/>
                    <a:pt x="1706" y="1680"/>
                    <a:pt x="1706" y="1680"/>
                  </a:cubicBezTo>
                  <a:cubicBezTo>
                    <a:pt x="1705" y="1681"/>
                    <a:pt x="1704" y="1681"/>
                    <a:pt x="1704" y="1681"/>
                  </a:cubicBezTo>
                  <a:cubicBezTo>
                    <a:pt x="1701" y="1683"/>
                    <a:pt x="1699" y="1684"/>
                    <a:pt x="1695" y="1685"/>
                  </a:cubicBezTo>
                  <a:cubicBezTo>
                    <a:pt x="1695" y="1685"/>
                    <a:pt x="1694" y="1686"/>
                    <a:pt x="1693" y="1686"/>
                  </a:cubicBezTo>
                  <a:cubicBezTo>
                    <a:pt x="1691" y="1686"/>
                    <a:pt x="1690" y="1686"/>
                    <a:pt x="1689" y="1687"/>
                  </a:cubicBezTo>
                  <a:cubicBezTo>
                    <a:pt x="1688" y="1687"/>
                    <a:pt x="1688" y="1687"/>
                    <a:pt x="1687" y="1687"/>
                  </a:cubicBezTo>
                  <a:cubicBezTo>
                    <a:pt x="1686" y="1687"/>
                    <a:pt x="1686" y="1687"/>
                    <a:pt x="1686" y="1687"/>
                  </a:cubicBezTo>
                  <a:cubicBezTo>
                    <a:pt x="1656" y="1690"/>
                    <a:pt x="1624" y="1687"/>
                    <a:pt x="1593" y="1688"/>
                  </a:cubicBezTo>
                  <a:cubicBezTo>
                    <a:pt x="1589" y="1688"/>
                    <a:pt x="1586" y="1687"/>
                    <a:pt x="1583" y="1687"/>
                  </a:cubicBezTo>
                  <a:cubicBezTo>
                    <a:pt x="1572" y="1686"/>
                    <a:pt x="1560" y="1682"/>
                    <a:pt x="1551" y="1676"/>
                  </a:cubicBezTo>
                  <a:cubicBezTo>
                    <a:pt x="1548" y="1675"/>
                    <a:pt x="1546" y="1673"/>
                    <a:pt x="1544" y="1672"/>
                  </a:cubicBezTo>
                  <a:close/>
                  <a:moveTo>
                    <a:pt x="1795" y="1838"/>
                  </a:moveTo>
                  <a:cubicBezTo>
                    <a:pt x="1795" y="1839"/>
                    <a:pt x="1794" y="1839"/>
                    <a:pt x="1794" y="1840"/>
                  </a:cubicBezTo>
                  <a:cubicBezTo>
                    <a:pt x="1794" y="1841"/>
                    <a:pt x="1794" y="1841"/>
                    <a:pt x="1794" y="1842"/>
                  </a:cubicBezTo>
                  <a:cubicBezTo>
                    <a:pt x="1793" y="1843"/>
                    <a:pt x="1793" y="1844"/>
                    <a:pt x="1792" y="1845"/>
                  </a:cubicBezTo>
                  <a:cubicBezTo>
                    <a:pt x="1792" y="1845"/>
                    <a:pt x="1792" y="1845"/>
                    <a:pt x="1792" y="1846"/>
                  </a:cubicBezTo>
                  <a:cubicBezTo>
                    <a:pt x="1791" y="1846"/>
                    <a:pt x="1791" y="1847"/>
                    <a:pt x="1790" y="1847"/>
                  </a:cubicBezTo>
                  <a:cubicBezTo>
                    <a:pt x="1790" y="1847"/>
                    <a:pt x="1790" y="1848"/>
                    <a:pt x="1789" y="1848"/>
                  </a:cubicBezTo>
                  <a:cubicBezTo>
                    <a:pt x="1789" y="1848"/>
                    <a:pt x="1789" y="1848"/>
                    <a:pt x="1789" y="1849"/>
                  </a:cubicBezTo>
                  <a:cubicBezTo>
                    <a:pt x="1783" y="1854"/>
                    <a:pt x="1776" y="1856"/>
                    <a:pt x="1768" y="1857"/>
                  </a:cubicBezTo>
                  <a:cubicBezTo>
                    <a:pt x="1767" y="1857"/>
                    <a:pt x="1767" y="1857"/>
                    <a:pt x="1767" y="1857"/>
                  </a:cubicBezTo>
                  <a:cubicBezTo>
                    <a:pt x="1764" y="1858"/>
                    <a:pt x="1761" y="1858"/>
                    <a:pt x="1758" y="1858"/>
                  </a:cubicBezTo>
                  <a:cubicBezTo>
                    <a:pt x="1755" y="1858"/>
                    <a:pt x="1755" y="1858"/>
                    <a:pt x="1755" y="1858"/>
                  </a:cubicBezTo>
                  <a:cubicBezTo>
                    <a:pt x="1752" y="1858"/>
                    <a:pt x="1749" y="1858"/>
                    <a:pt x="1747" y="1858"/>
                  </a:cubicBezTo>
                  <a:cubicBezTo>
                    <a:pt x="1662" y="1858"/>
                    <a:pt x="1662" y="1858"/>
                    <a:pt x="1662" y="1858"/>
                  </a:cubicBezTo>
                  <a:cubicBezTo>
                    <a:pt x="1659" y="1858"/>
                    <a:pt x="1656" y="1858"/>
                    <a:pt x="1653" y="1858"/>
                  </a:cubicBezTo>
                  <a:cubicBezTo>
                    <a:pt x="1651" y="1857"/>
                    <a:pt x="1650" y="1857"/>
                    <a:pt x="1649" y="1857"/>
                  </a:cubicBezTo>
                  <a:cubicBezTo>
                    <a:pt x="1632" y="1855"/>
                    <a:pt x="1611" y="1847"/>
                    <a:pt x="1602" y="1831"/>
                  </a:cubicBezTo>
                  <a:cubicBezTo>
                    <a:pt x="1600" y="1829"/>
                    <a:pt x="1599" y="1827"/>
                    <a:pt x="1598" y="1825"/>
                  </a:cubicBezTo>
                  <a:cubicBezTo>
                    <a:pt x="1598" y="1824"/>
                    <a:pt x="1598" y="1824"/>
                    <a:pt x="1598" y="1824"/>
                  </a:cubicBezTo>
                  <a:cubicBezTo>
                    <a:pt x="1594" y="1812"/>
                    <a:pt x="1588" y="1801"/>
                    <a:pt x="1584" y="1788"/>
                  </a:cubicBezTo>
                  <a:cubicBezTo>
                    <a:pt x="1582" y="1782"/>
                    <a:pt x="1578" y="1774"/>
                    <a:pt x="1576" y="1766"/>
                  </a:cubicBezTo>
                  <a:cubicBezTo>
                    <a:pt x="1576" y="1765"/>
                    <a:pt x="1576" y="1765"/>
                    <a:pt x="1576" y="1765"/>
                  </a:cubicBezTo>
                  <a:cubicBezTo>
                    <a:pt x="1576" y="1765"/>
                    <a:pt x="1575" y="1764"/>
                    <a:pt x="1575" y="1763"/>
                  </a:cubicBezTo>
                  <a:cubicBezTo>
                    <a:pt x="1575" y="1760"/>
                    <a:pt x="1575" y="1757"/>
                    <a:pt x="1575" y="1754"/>
                  </a:cubicBezTo>
                  <a:cubicBezTo>
                    <a:pt x="1576" y="1752"/>
                    <a:pt x="1577" y="1751"/>
                    <a:pt x="1578" y="1749"/>
                  </a:cubicBezTo>
                  <a:cubicBezTo>
                    <a:pt x="1583" y="1741"/>
                    <a:pt x="1593" y="1738"/>
                    <a:pt x="1603" y="1737"/>
                  </a:cubicBezTo>
                  <a:cubicBezTo>
                    <a:pt x="1603" y="1737"/>
                    <a:pt x="1603" y="1737"/>
                    <a:pt x="1604" y="1737"/>
                  </a:cubicBezTo>
                  <a:cubicBezTo>
                    <a:pt x="1606" y="1737"/>
                    <a:pt x="1608" y="1737"/>
                    <a:pt x="1611" y="1737"/>
                  </a:cubicBezTo>
                  <a:cubicBezTo>
                    <a:pt x="1612" y="1736"/>
                    <a:pt x="1612" y="1736"/>
                    <a:pt x="1612" y="1736"/>
                  </a:cubicBezTo>
                  <a:cubicBezTo>
                    <a:pt x="1618" y="1736"/>
                    <a:pt x="1618" y="1736"/>
                    <a:pt x="1618" y="1736"/>
                  </a:cubicBezTo>
                  <a:cubicBezTo>
                    <a:pt x="1619" y="1736"/>
                    <a:pt x="1620" y="1736"/>
                    <a:pt x="1623" y="1736"/>
                  </a:cubicBezTo>
                  <a:cubicBezTo>
                    <a:pt x="1648" y="1736"/>
                    <a:pt x="1674" y="1736"/>
                    <a:pt x="1701" y="1736"/>
                  </a:cubicBezTo>
                  <a:cubicBezTo>
                    <a:pt x="1704" y="1736"/>
                    <a:pt x="1707" y="1736"/>
                    <a:pt x="1710" y="1737"/>
                  </a:cubicBezTo>
                  <a:cubicBezTo>
                    <a:pt x="1711" y="1737"/>
                    <a:pt x="1711" y="1737"/>
                    <a:pt x="1711" y="1737"/>
                  </a:cubicBezTo>
                  <a:cubicBezTo>
                    <a:pt x="1729" y="1739"/>
                    <a:pt x="1749" y="1746"/>
                    <a:pt x="1759" y="1759"/>
                  </a:cubicBezTo>
                  <a:cubicBezTo>
                    <a:pt x="1761" y="1761"/>
                    <a:pt x="1762" y="1763"/>
                    <a:pt x="1763" y="1765"/>
                  </a:cubicBezTo>
                  <a:cubicBezTo>
                    <a:pt x="1766" y="1771"/>
                    <a:pt x="1766" y="1771"/>
                    <a:pt x="1766" y="1771"/>
                  </a:cubicBezTo>
                  <a:cubicBezTo>
                    <a:pt x="1771" y="1781"/>
                    <a:pt x="1777" y="1791"/>
                    <a:pt x="1782" y="1803"/>
                  </a:cubicBezTo>
                  <a:cubicBezTo>
                    <a:pt x="1785" y="1809"/>
                    <a:pt x="1791" y="1817"/>
                    <a:pt x="1793" y="1826"/>
                  </a:cubicBezTo>
                  <a:cubicBezTo>
                    <a:pt x="1795" y="1830"/>
                    <a:pt x="1796" y="1834"/>
                    <a:pt x="1795" y="1838"/>
                  </a:cubicBezTo>
                  <a:close/>
                  <a:moveTo>
                    <a:pt x="1809" y="1671"/>
                  </a:moveTo>
                  <a:cubicBezTo>
                    <a:pt x="1805" y="1667"/>
                    <a:pt x="1801" y="1663"/>
                    <a:pt x="1799" y="1660"/>
                  </a:cubicBezTo>
                  <a:cubicBezTo>
                    <a:pt x="1797" y="1657"/>
                    <a:pt x="1797" y="1657"/>
                    <a:pt x="1797" y="1657"/>
                  </a:cubicBezTo>
                  <a:cubicBezTo>
                    <a:pt x="1790" y="1644"/>
                    <a:pt x="1783" y="1631"/>
                    <a:pt x="1776" y="1618"/>
                  </a:cubicBezTo>
                  <a:cubicBezTo>
                    <a:pt x="1772" y="1613"/>
                    <a:pt x="1772" y="1613"/>
                    <a:pt x="1772" y="1613"/>
                  </a:cubicBezTo>
                  <a:cubicBezTo>
                    <a:pt x="1770" y="1610"/>
                    <a:pt x="1770" y="1607"/>
                    <a:pt x="1770" y="1604"/>
                  </a:cubicBezTo>
                  <a:cubicBezTo>
                    <a:pt x="1771" y="1600"/>
                    <a:pt x="1772" y="1598"/>
                    <a:pt x="1776" y="1595"/>
                  </a:cubicBezTo>
                  <a:cubicBezTo>
                    <a:pt x="1779" y="1593"/>
                    <a:pt x="1782" y="1592"/>
                    <a:pt x="1786" y="1590"/>
                  </a:cubicBezTo>
                  <a:cubicBezTo>
                    <a:pt x="1791" y="1589"/>
                    <a:pt x="1796" y="1589"/>
                    <a:pt x="1802" y="1589"/>
                  </a:cubicBezTo>
                  <a:cubicBezTo>
                    <a:pt x="1803" y="1589"/>
                    <a:pt x="1803" y="1589"/>
                    <a:pt x="1803" y="1589"/>
                  </a:cubicBezTo>
                  <a:cubicBezTo>
                    <a:pt x="1816" y="1588"/>
                    <a:pt x="1830" y="1588"/>
                    <a:pt x="1838" y="1588"/>
                  </a:cubicBezTo>
                  <a:cubicBezTo>
                    <a:pt x="1870" y="1588"/>
                    <a:pt x="1920" y="1582"/>
                    <a:pt x="1941" y="1613"/>
                  </a:cubicBezTo>
                  <a:cubicBezTo>
                    <a:pt x="1948" y="1622"/>
                    <a:pt x="1954" y="1632"/>
                    <a:pt x="1962" y="1643"/>
                  </a:cubicBezTo>
                  <a:cubicBezTo>
                    <a:pt x="1965" y="1648"/>
                    <a:pt x="1971" y="1655"/>
                    <a:pt x="1974" y="1661"/>
                  </a:cubicBezTo>
                  <a:cubicBezTo>
                    <a:pt x="1976" y="1664"/>
                    <a:pt x="1977" y="1667"/>
                    <a:pt x="1977" y="1671"/>
                  </a:cubicBezTo>
                  <a:cubicBezTo>
                    <a:pt x="1977" y="1672"/>
                    <a:pt x="1976" y="1674"/>
                    <a:pt x="1975" y="1676"/>
                  </a:cubicBezTo>
                  <a:cubicBezTo>
                    <a:pt x="1975" y="1677"/>
                    <a:pt x="1974" y="1678"/>
                    <a:pt x="1973" y="1679"/>
                  </a:cubicBezTo>
                  <a:cubicBezTo>
                    <a:pt x="1972" y="1680"/>
                    <a:pt x="1972" y="1680"/>
                    <a:pt x="1971" y="1681"/>
                  </a:cubicBezTo>
                  <a:cubicBezTo>
                    <a:pt x="1970" y="1681"/>
                    <a:pt x="1970" y="1681"/>
                    <a:pt x="1970" y="1681"/>
                  </a:cubicBezTo>
                  <a:cubicBezTo>
                    <a:pt x="1969" y="1682"/>
                    <a:pt x="1968" y="1682"/>
                    <a:pt x="1967" y="1683"/>
                  </a:cubicBezTo>
                  <a:cubicBezTo>
                    <a:pt x="1966" y="1683"/>
                    <a:pt x="1964" y="1684"/>
                    <a:pt x="1963" y="1684"/>
                  </a:cubicBezTo>
                  <a:cubicBezTo>
                    <a:pt x="1963" y="1685"/>
                    <a:pt x="1963" y="1685"/>
                    <a:pt x="1963" y="1685"/>
                  </a:cubicBezTo>
                  <a:cubicBezTo>
                    <a:pt x="1962" y="1685"/>
                    <a:pt x="1962" y="1685"/>
                    <a:pt x="1962" y="1685"/>
                  </a:cubicBezTo>
                  <a:cubicBezTo>
                    <a:pt x="1947" y="1689"/>
                    <a:pt x="1925" y="1687"/>
                    <a:pt x="1911" y="1687"/>
                  </a:cubicBezTo>
                  <a:cubicBezTo>
                    <a:pt x="1894" y="1687"/>
                    <a:pt x="1877" y="1687"/>
                    <a:pt x="1860" y="1687"/>
                  </a:cubicBezTo>
                  <a:cubicBezTo>
                    <a:pt x="1845" y="1687"/>
                    <a:pt x="1827" y="1683"/>
                    <a:pt x="1814" y="1675"/>
                  </a:cubicBezTo>
                  <a:cubicBezTo>
                    <a:pt x="1812" y="1673"/>
                    <a:pt x="1811" y="1672"/>
                    <a:pt x="1809" y="1671"/>
                  </a:cubicBezTo>
                  <a:close/>
                  <a:moveTo>
                    <a:pt x="2088" y="1847"/>
                  </a:moveTo>
                  <a:cubicBezTo>
                    <a:pt x="2088" y="1847"/>
                    <a:pt x="2088" y="1847"/>
                    <a:pt x="2087" y="1847"/>
                  </a:cubicBezTo>
                  <a:cubicBezTo>
                    <a:pt x="2085" y="1850"/>
                    <a:pt x="2081" y="1853"/>
                    <a:pt x="2075" y="1854"/>
                  </a:cubicBezTo>
                  <a:cubicBezTo>
                    <a:pt x="2071" y="1856"/>
                    <a:pt x="2065" y="1857"/>
                    <a:pt x="2058" y="1857"/>
                  </a:cubicBezTo>
                  <a:cubicBezTo>
                    <a:pt x="2051" y="1857"/>
                    <a:pt x="2051" y="1857"/>
                    <a:pt x="2051" y="1857"/>
                  </a:cubicBezTo>
                  <a:cubicBezTo>
                    <a:pt x="2022" y="1857"/>
                    <a:pt x="1992" y="1857"/>
                    <a:pt x="1962" y="1857"/>
                  </a:cubicBezTo>
                  <a:cubicBezTo>
                    <a:pt x="1959" y="1857"/>
                    <a:pt x="1954" y="1857"/>
                    <a:pt x="1951" y="1857"/>
                  </a:cubicBezTo>
                  <a:cubicBezTo>
                    <a:pt x="1931" y="1855"/>
                    <a:pt x="1909" y="1846"/>
                    <a:pt x="1896" y="1830"/>
                  </a:cubicBezTo>
                  <a:cubicBezTo>
                    <a:pt x="1894" y="1828"/>
                    <a:pt x="1892" y="1826"/>
                    <a:pt x="1891" y="1824"/>
                  </a:cubicBezTo>
                  <a:cubicBezTo>
                    <a:pt x="1885" y="1813"/>
                    <a:pt x="1878" y="1802"/>
                    <a:pt x="1872" y="1790"/>
                  </a:cubicBezTo>
                  <a:cubicBezTo>
                    <a:pt x="1868" y="1782"/>
                    <a:pt x="1858" y="1770"/>
                    <a:pt x="1856" y="1759"/>
                  </a:cubicBezTo>
                  <a:cubicBezTo>
                    <a:pt x="1855" y="1758"/>
                    <a:pt x="1855" y="1757"/>
                    <a:pt x="1855" y="1756"/>
                  </a:cubicBezTo>
                  <a:cubicBezTo>
                    <a:pt x="1854" y="1746"/>
                    <a:pt x="1862" y="1741"/>
                    <a:pt x="1872" y="1738"/>
                  </a:cubicBezTo>
                  <a:cubicBezTo>
                    <a:pt x="1873" y="1738"/>
                    <a:pt x="1873" y="1738"/>
                    <a:pt x="1873" y="1738"/>
                  </a:cubicBezTo>
                  <a:cubicBezTo>
                    <a:pt x="1874" y="1738"/>
                    <a:pt x="1874" y="1738"/>
                    <a:pt x="1875" y="1737"/>
                  </a:cubicBezTo>
                  <a:cubicBezTo>
                    <a:pt x="1879" y="1736"/>
                    <a:pt x="1884" y="1736"/>
                    <a:pt x="1889" y="1736"/>
                  </a:cubicBezTo>
                  <a:cubicBezTo>
                    <a:pt x="1948" y="1736"/>
                    <a:pt x="1948" y="1736"/>
                    <a:pt x="1948" y="1736"/>
                  </a:cubicBezTo>
                  <a:cubicBezTo>
                    <a:pt x="1958" y="1736"/>
                    <a:pt x="1968" y="1736"/>
                    <a:pt x="1977" y="1736"/>
                  </a:cubicBezTo>
                  <a:cubicBezTo>
                    <a:pt x="1978" y="1736"/>
                    <a:pt x="1978" y="1736"/>
                    <a:pt x="1979" y="1736"/>
                  </a:cubicBezTo>
                  <a:cubicBezTo>
                    <a:pt x="1981" y="1736"/>
                    <a:pt x="1984" y="1736"/>
                    <a:pt x="1986" y="1736"/>
                  </a:cubicBezTo>
                  <a:cubicBezTo>
                    <a:pt x="1988" y="1736"/>
                    <a:pt x="1988" y="1736"/>
                    <a:pt x="1989" y="1736"/>
                  </a:cubicBezTo>
                  <a:cubicBezTo>
                    <a:pt x="2007" y="1738"/>
                    <a:pt x="2027" y="1745"/>
                    <a:pt x="2039" y="1758"/>
                  </a:cubicBezTo>
                  <a:cubicBezTo>
                    <a:pt x="2040" y="1758"/>
                    <a:pt x="2041" y="1759"/>
                    <a:pt x="2042" y="1760"/>
                  </a:cubicBezTo>
                  <a:cubicBezTo>
                    <a:pt x="2042" y="1761"/>
                    <a:pt x="2043" y="1761"/>
                    <a:pt x="2043" y="1762"/>
                  </a:cubicBezTo>
                  <a:cubicBezTo>
                    <a:pt x="2044" y="1763"/>
                    <a:pt x="2044" y="1763"/>
                    <a:pt x="2045" y="1764"/>
                  </a:cubicBezTo>
                  <a:cubicBezTo>
                    <a:pt x="2048" y="1766"/>
                    <a:pt x="2048" y="1766"/>
                    <a:pt x="2048" y="1766"/>
                  </a:cubicBezTo>
                  <a:cubicBezTo>
                    <a:pt x="2053" y="1775"/>
                    <a:pt x="2058" y="1783"/>
                    <a:pt x="2064" y="1791"/>
                  </a:cubicBezTo>
                  <a:cubicBezTo>
                    <a:pt x="2071" y="1803"/>
                    <a:pt x="2082" y="1814"/>
                    <a:pt x="2088" y="1827"/>
                  </a:cubicBezTo>
                  <a:cubicBezTo>
                    <a:pt x="2089" y="1828"/>
                    <a:pt x="2089" y="1828"/>
                    <a:pt x="2089" y="1829"/>
                  </a:cubicBezTo>
                  <a:cubicBezTo>
                    <a:pt x="2090" y="1830"/>
                    <a:pt x="2090" y="1830"/>
                    <a:pt x="2090" y="1830"/>
                  </a:cubicBezTo>
                  <a:cubicBezTo>
                    <a:pt x="2092" y="1838"/>
                    <a:pt x="2091" y="1843"/>
                    <a:pt x="2088" y="18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7140575" y="5402263"/>
            <a:ext cx="1147763" cy="914400"/>
            <a:chOff x="7141211" y="5402486"/>
            <a:chExt cx="1146689" cy="914776"/>
          </a:xfrm>
        </p:grpSpPr>
        <p:sp>
          <p:nvSpPr>
            <p:cNvPr id="182" name="Freeform 6"/>
            <p:cNvSpPr>
              <a:spLocks/>
            </p:cNvSpPr>
            <p:nvPr/>
          </p:nvSpPr>
          <p:spPr bwMode="auto">
            <a:xfrm>
              <a:off x="7209410" y="5472365"/>
              <a:ext cx="1000775" cy="809958"/>
            </a:xfrm>
            <a:custGeom>
              <a:avLst/>
              <a:gdLst>
                <a:gd name="T0" fmla="*/ 34 w 3145"/>
                <a:gd name="T1" fmla="*/ 531 h 3133"/>
                <a:gd name="T2" fmla="*/ 1591 w 3145"/>
                <a:gd name="T3" fmla="*/ 0 h 3133"/>
                <a:gd name="T4" fmla="*/ 1591 w 3145"/>
                <a:gd name="T5" fmla="*/ 0 h 3133"/>
                <a:gd name="T6" fmla="*/ 3145 w 3145"/>
                <a:gd name="T7" fmla="*/ 531 h 3133"/>
                <a:gd name="T8" fmla="*/ 3145 w 3145"/>
                <a:gd name="T9" fmla="*/ 2589 h 3133"/>
                <a:gd name="T10" fmla="*/ 3024 w 3145"/>
                <a:gd name="T11" fmla="*/ 2837 h 3133"/>
                <a:gd name="T12" fmla="*/ 2384 w 3145"/>
                <a:gd name="T13" fmla="*/ 3005 h 3133"/>
                <a:gd name="T14" fmla="*/ 960 w 3145"/>
                <a:gd name="T15" fmla="*/ 3133 h 3133"/>
                <a:gd name="T16" fmla="*/ 0 w 3145"/>
                <a:gd name="T17" fmla="*/ 2597 h 3133"/>
                <a:gd name="T18" fmla="*/ 34 w 3145"/>
                <a:gd name="T19" fmla="*/ 531 h 3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5" h="3133">
                  <a:moveTo>
                    <a:pt x="34" y="531"/>
                  </a:moveTo>
                  <a:cubicBezTo>
                    <a:pt x="34" y="238"/>
                    <a:pt x="731" y="0"/>
                    <a:pt x="1591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2445" y="0"/>
                    <a:pt x="3145" y="238"/>
                    <a:pt x="3145" y="531"/>
                  </a:cubicBezTo>
                  <a:cubicBezTo>
                    <a:pt x="3145" y="2589"/>
                    <a:pt x="3145" y="2589"/>
                    <a:pt x="3145" y="2589"/>
                  </a:cubicBezTo>
                  <a:cubicBezTo>
                    <a:pt x="3024" y="2837"/>
                    <a:pt x="3024" y="2837"/>
                    <a:pt x="3024" y="2837"/>
                  </a:cubicBezTo>
                  <a:cubicBezTo>
                    <a:pt x="2384" y="3005"/>
                    <a:pt x="2384" y="3005"/>
                    <a:pt x="2384" y="3005"/>
                  </a:cubicBezTo>
                  <a:cubicBezTo>
                    <a:pt x="960" y="3133"/>
                    <a:pt x="960" y="3133"/>
                    <a:pt x="960" y="3133"/>
                  </a:cubicBezTo>
                  <a:cubicBezTo>
                    <a:pt x="0" y="2597"/>
                    <a:pt x="0" y="2597"/>
                    <a:pt x="0" y="2597"/>
                  </a:cubicBezTo>
                  <a:lnTo>
                    <a:pt x="34" y="531"/>
                  </a:lnTo>
                  <a:close/>
                </a:path>
              </a:pathLst>
            </a:custGeom>
            <a:solidFill>
              <a:srgbClr val="0071BC">
                <a:lumMod val="20000"/>
                <a:lumOff val="80000"/>
              </a:srgb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83" name="Freeform 7"/>
            <p:cNvSpPr>
              <a:spLocks noEditPoints="1"/>
            </p:cNvSpPr>
            <p:nvPr/>
          </p:nvSpPr>
          <p:spPr bwMode="auto">
            <a:xfrm>
              <a:off x="7141211" y="5402486"/>
              <a:ext cx="1146689" cy="914776"/>
            </a:xfrm>
            <a:custGeom>
              <a:avLst/>
              <a:gdLst>
                <a:gd name="T0" fmla="*/ 3356 w 3594"/>
                <a:gd name="T1" fmla="*/ 382 h 3535"/>
                <a:gd name="T2" fmla="*/ 1800 w 3594"/>
                <a:gd name="T3" fmla="*/ 0 h 3535"/>
                <a:gd name="T4" fmla="*/ 655 w 3594"/>
                <a:gd name="T5" fmla="*/ 165 h 3535"/>
                <a:gd name="T6" fmla="*/ 238 w 3594"/>
                <a:gd name="T7" fmla="*/ 382 h 3535"/>
                <a:gd name="T8" fmla="*/ 0 w 3594"/>
                <a:gd name="T9" fmla="*/ 833 h 3535"/>
                <a:gd name="T10" fmla="*/ 0 w 3594"/>
                <a:gd name="T11" fmla="*/ 2598 h 3535"/>
                <a:gd name="T12" fmla="*/ 214 w 3594"/>
                <a:gd name="T13" fmla="*/ 3069 h 3535"/>
                <a:gd name="T14" fmla="*/ 1800 w 3594"/>
                <a:gd name="T15" fmla="*/ 3535 h 3535"/>
                <a:gd name="T16" fmla="*/ 2282 w 3594"/>
                <a:gd name="T17" fmla="*/ 3505 h 3535"/>
                <a:gd name="T18" fmla="*/ 3373 w 3594"/>
                <a:gd name="T19" fmla="*/ 3077 h 3535"/>
                <a:gd name="T20" fmla="*/ 3379 w 3594"/>
                <a:gd name="T21" fmla="*/ 3077 h 3535"/>
                <a:gd name="T22" fmla="*/ 3594 w 3594"/>
                <a:gd name="T23" fmla="*/ 2606 h 3535"/>
                <a:gd name="T24" fmla="*/ 3594 w 3594"/>
                <a:gd name="T25" fmla="*/ 1655 h 3535"/>
                <a:gd name="T26" fmla="*/ 3594 w 3594"/>
                <a:gd name="T27" fmla="*/ 1655 h 3535"/>
                <a:gd name="T28" fmla="*/ 3594 w 3594"/>
                <a:gd name="T29" fmla="*/ 833 h 3535"/>
                <a:gd name="T30" fmla="*/ 3356 w 3594"/>
                <a:gd name="T31" fmla="*/ 382 h 3535"/>
                <a:gd name="T32" fmla="*/ 1800 w 3594"/>
                <a:gd name="T33" fmla="*/ 332 h 3535"/>
                <a:gd name="T34" fmla="*/ 3266 w 3594"/>
                <a:gd name="T35" fmla="*/ 833 h 3535"/>
                <a:gd name="T36" fmla="*/ 1800 w 3594"/>
                <a:gd name="T37" fmla="*/ 1337 h 3535"/>
                <a:gd name="T38" fmla="*/ 331 w 3594"/>
                <a:gd name="T39" fmla="*/ 833 h 3535"/>
                <a:gd name="T40" fmla="*/ 1800 w 3594"/>
                <a:gd name="T41" fmla="*/ 332 h 3535"/>
                <a:gd name="T42" fmla="*/ 331 w 3594"/>
                <a:gd name="T43" fmla="*/ 1436 h 3535"/>
                <a:gd name="T44" fmla="*/ 331 w 3594"/>
                <a:gd name="T45" fmla="*/ 1179 h 3535"/>
                <a:gd name="T46" fmla="*/ 331 w 3594"/>
                <a:gd name="T47" fmla="*/ 1179 h 3535"/>
                <a:gd name="T48" fmla="*/ 460 w 3594"/>
                <a:gd name="T49" fmla="*/ 1269 h 3535"/>
                <a:gd name="T50" fmla="*/ 1800 w 3594"/>
                <a:gd name="T51" fmla="*/ 1533 h 3535"/>
                <a:gd name="T52" fmla="*/ 2887 w 3594"/>
                <a:gd name="T53" fmla="*/ 1376 h 3535"/>
                <a:gd name="T54" fmla="*/ 3256 w 3594"/>
                <a:gd name="T55" fmla="*/ 1189 h 3535"/>
                <a:gd name="T56" fmla="*/ 3266 w 3594"/>
                <a:gd name="T57" fmla="*/ 1179 h 3535"/>
                <a:gd name="T58" fmla="*/ 3266 w 3594"/>
                <a:gd name="T59" fmla="*/ 1539 h 3535"/>
                <a:gd name="T60" fmla="*/ 3266 w 3594"/>
                <a:gd name="T61" fmla="*/ 1635 h 3535"/>
                <a:gd name="T62" fmla="*/ 3266 w 3594"/>
                <a:gd name="T63" fmla="*/ 2468 h 3535"/>
                <a:gd name="T64" fmla="*/ 3266 w 3594"/>
                <a:gd name="T65" fmla="*/ 2773 h 3535"/>
                <a:gd name="T66" fmla="*/ 3010 w 3594"/>
                <a:gd name="T67" fmla="*/ 3003 h 3535"/>
                <a:gd name="T68" fmla="*/ 2288 w 3594"/>
                <a:gd name="T69" fmla="*/ 3171 h 3535"/>
                <a:gd name="T70" fmla="*/ 1800 w 3594"/>
                <a:gd name="T71" fmla="*/ 3204 h 3535"/>
                <a:gd name="T72" fmla="*/ 1800 w 3594"/>
                <a:gd name="T73" fmla="*/ 3204 h 3535"/>
                <a:gd name="T74" fmla="*/ 331 w 3594"/>
                <a:gd name="T75" fmla="*/ 2598 h 3535"/>
                <a:gd name="T76" fmla="*/ 331 w 3594"/>
                <a:gd name="T77" fmla="*/ 2379 h 3535"/>
                <a:gd name="T78" fmla="*/ 331 w 3594"/>
                <a:gd name="T79" fmla="*/ 1436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94" h="3535">
                  <a:moveTo>
                    <a:pt x="3356" y="382"/>
                  </a:moveTo>
                  <a:cubicBezTo>
                    <a:pt x="3000" y="111"/>
                    <a:pt x="2455" y="10"/>
                    <a:pt x="1800" y="0"/>
                  </a:cubicBezTo>
                  <a:cubicBezTo>
                    <a:pt x="1361" y="0"/>
                    <a:pt x="964" y="60"/>
                    <a:pt x="655" y="165"/>
                  </a:cubicBezTo>
                  <a:cubicBezTo>
                    <a:pt x="496" y="221"/>
                    <a:pt x="359" y="284"/>
                    <a:pt x="238" y="382"/>
                  </a:cubicBezTo>
                  <a:cubicBezTo>
                    <a:pt x="121" y="471"/>
                    <a:pt x="0" y="626"/>
                    <a:pt x="0" y="833"/>
                  </a:cubicBezTo>
                  <a:cubicBezTo>
                    <a:pt x="0" y="2598"/>
                    <a:pt x="0" y="2598"/>
                    <a:pt x="0" y="2598"/>
                  </a:cubicBezTo>
                  <a:cubicBezTo>
                    <a:pt x="0" y="2795"/>
                    <a:pt x="97" y="2960"/>
                    <a:pt x="214" y="3069"/>
                  </a:cubicBezTo>
                  <a:cubicBezTo>
                    <a:pt x="567" y="3395"/>
                    <a:pt x="1133" y="3525"/>
                    <a:pt x="1800" y="3535"/>
                  </a:cubicBezTo>
                  <a:cubicBezTo>
                    <a:pt x="1962" y="3535"/>
                    <a:pt x="2131" y="3525"/>
                    <a:pt x="2282" y="3505"/>
                  </a:cubicBezTo>
                  <a:cubicBezTo>
                    <a:pt x="2282" y="3505"/>
                    <a:pt x="3096" y="3358"/>
                    <a:pt x="3373" y="3077"/>
                  </a:cubicBezTo>
                  <a:cubicBezTo>
                    <a:pt x="3379" y="3077"/>
                    <a:pt x="3379" y="3077"/>
                    <a:pt x="3379" y="3077"/>
                  </a:cubicBezTo>
                  <a:cubicBezTo>
                    <a:pt x="3496" y="2968"/>
                    <a:pt x="3594" y="2803"/>
                    <a:pt x="3594" y="2606"/>
                  </a:cubicBezTo>
                  <a:cubicBezTo>
                    <a:pt x="3594" y="2606"/>
                    <a:pt x="3594" y="2606"/>
                    <a:pt x="3594" y="1655"/>
                  </a:cubicBezTo>
                  <a:cubicBezTo>
                    <a:pt x="3594" y="1655"/>
                    <a:pt x="3594" y="1655"/>
                    <a:pt x="3594" y="1655"/>
                  </a:cubicBezTo>
                  <a:cubicBezTo>
                    <a:pt x="3594" y="833"/>
                    <a:pt x="3594" y="833"/>
                    <a:pt x="3594" y="833"/>
                  </a:cubicBezTo>
                  <a:cubicBezTo>
                    <a:pt x="3594" y="626"/>
                    <a:pt x="3473" y="471"/>
                    <a:pt x="3356" y="382"/>
                  </a:cubicBezTo>
                  <a:close/>
                  <a:moveTo>
                    <a:pt x="1800" y="332"/>
                  </a:moveTo>
                  <a:cubicBezTo>
                    <a:pt x="2605" y="332"/>
                    <a:pt x="3266" y="557"/>
                    <a:pt x="3266" y="833"/>
                  </a:cubicBezTo>
                  <a:cubicBezTo>
                    <a:pt x="3266" y="1112"/>
                    <a:pt x="2605" y="1337"/>
                    <a:pt x="1800" y="1337"/>
                  </a:cubicBezTo>
                  <a:cubicBezTo>
                    <a:pt x="988" y="1337"/>
                    <a:pt x="331" y="1112"/>
                    <a:pt x="331" y="833"/>
                  </a:cubicBezTo>
                  <a:cubicBezTo>
                    <a:pt x="331" y="557"/>
                    <a:pt x="988" y="332"/>
                    <a:pt x="1800" y="332"/>
                  </a:cubicBezTo>
                  <a:close/>
                  <a:moveTo>
                    <a:pt x="331" y="1436"/>
                  </a:moveTo>
                  <a:cubicBezTo>
                    <a:pt x="331" y="1179"/>
                    <a:pt x="331" y="1179"/>
                    <a:pt x="331" y="1179"/>
                  </a:cubicBezTo>
                  <a:cubicBezTo>
                    <a:pt x="331" y="1179"/>
                    <a:pt x="331" y="1179"/>
                    <a:pt x="331" y="1179"/>
                  </a:cubicBezTo>
                  <a:cubicBezTo>
                    <a:pt x="369" y="1211"/>
                    <a:pt x="413" y="1243"/>
                    <a:pt x="460" y="1269"/>
                  </a:cubicBezTo>
                  <a:cubicBezTo>
                    <a:pt x="764" y="1436"/>
                    <a:pt x="1242" y="1530"/>
                    <a:pt x="1800" y="1533"/>
                  </a:cubicBezTo>
                  <a:cubicBezTo>
                    <a:pt x="2216" y="1533"/>
                    <a:pt x="2599" y="1476"/>
                    <a:pt x="2887" y="1376"/>
                  </a:cubicBezTo>
                  <a:cubicBezTo>
                    <a:pt x="3034" y="1327"/>
                    <a:pt x="3155" y="1265"/>
                    <a:pt x="3256" y="1189"/>
                  </a:cubicBezTo>
                  <a:cubicBezTo>
                    <a:pt x="3258" y="1185"/>
                    <a:pt x="3262" y="1181"/>
                    <a:pt x="3266" y="1179"/>
                  </a:cubicBezTo>
                  <a:cubicBezTo>
                    <a:pt x="3266" y="1539"/>
                    <a:pt x="3266" y="1539"/>
                    <a:pt x="3266" y="1539"/>
                  </a:cubicBezTo>
                  <a:cubicBezTo>
                    <a:pt x="3266" y="1635"/>
                    <a:pt x="3266" y="1635"/>
                    <a:pt x="3266" y="1635"/>
                  </a:cubicBezTo>
                  <a:cubicBezTo>
                    <a:pt x="3266" y="2468"/>
                    <a:pt x="3266" y="2468"/>
                    <a:pt x="3266" y="2468"/>
                  </a:cubicBezTo>
                  <a:cubicBezTo>
                    <a:pt x="3266" y="2773"/>
                    <a:pt x="3266" y="2773"/>
                    <a:pt x="3266" y="2773"/>
                  </a:cubicBezTo>
                  <a:cubicBezTo>
                    <a:pt x="3246" y="2822"/>
                    <a:pt x="3189" y="2908"/>
                    <a:pt x="3010" y="3003"/>
                  </a:cubicBezTo>
                  <a:cubicBezTo>
                    <a:pt x="2562" y="3141"/>
                    <a:pt x="2288" y="3171"/>
                    <a:pt x="2288" y="3171"/>
                  </a:cubicBezTo>
                  <a:cubicBezTo>
                    <a:pt x="2137" y="3194"/>
                    <a:pt x="1966" y="3204"/>
                    <a:pt x="1800" y="3204"/>
                  </a:cubicBezTo>
                  <a:cubicBezTo>
                    <a:pt x="1800" y="3204"/>
                    <a:pt x="1800" y="3204"/>
                    <a:pt x="1800" y="3204"/>
                  </a:cubicBezTo>
                  <a:cubicBezTo>
                    <a:pt x="988" y="3204"/>
                    <a:pt x="331" y="2932"/>
                    <a:pt x="331" y="2598"/>
                  </a:cubicBezTo>
                  <a:cubicBezTo>
                    <a:pt x="331" y="2510"/>
                    <a:pt x="331" y="2439"/>
                    <a:pt x="331" y="2379"/>
                  </a:cubicBezTo>
                  <a:lnTo>
                    <a:pt x="331" y="1436"/>
                  </a:lnTo>
                  <a:close/>
                </a:path>
              </a:pathLst>
            </a:custGeom>
            <a:solidFill>
              <a:srgbClr val="00AE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2880" tIns="396000" b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SQL Database</a:t>
              </a:r>
            </a:p>
          </p:txBody>
        </p:sp>
      </p:grp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1281113" y="1501775"/>
            <a:ext cx="2986087" cy="708025"/>
            <a:chOff x="1281113" y="1501775"/>
            <a:chExt cx="2986087" cy="708025"/>
          </a:xfrm>
        </p:grpSpPr>
        <p:sp>
          <p:nvSpPr>
            <p:cNvPr id="231" name="מלבן מעוגל 230"/>
            <p:cNvSpPr/>
            <p:nvPr/>
          </p:nvSpPr>
          <p:spPr bwMode="auto">
            <a:xfrm>
              <a:off x="1281113" y="1501775"/>
              <a:ext cx="2986087" cy="70802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  <a:headEnd type="triangle" w="med" len="med"/>
              <a:tailEnd type="triangl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1"/>
            <a:lstStyle/>
            <a:p>
              <a:pPr>
                <a:defRPr/>
              </a:pPr>
              <a:endParaRPr lang="he-IL">
                <a:solidFill>
                  <a:schemeClr val="tx1"/>
                </a:solidFill>
                <a:latin typeface="Lucida Console" pitchFamily="49" charset="0"/>
              </a:endParaRPr>
            </a:p>
          </p:txBody>
        </p:sp>
        <p:pic>
          <p:nvPicPr>
            <p:cNvPr id="5158" name="Picture 2" descr="C:\Users\vittorib\Desktop\PDCPics\95. logo FB.pn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5500" y="1584325"/>
              <a:ext cx="509588" cy="50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59" name="Picture 3" descr="C:\Users\vittorib\Desktop\PDCPics\95. logo G.png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0650" y="1501775"/>
              <a:ext cx="673100" cy="674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60" name="Picture 4" descr="C:\Users\vittorib\Desktop\PDCPics\95. logo wlid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963" y="1601788"/>
              <a:ext cx="479425" cy="503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61" name="Picture 2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8038" y="1595438"/>
              <a:ext cx="769937" cy="487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3340100" y="4354513"/>
            <a:ext cx="2697163" cy="1352550"/>
            <a:chOff x="3340100" y="4354513"/>
            <a:chExt cx="2697163" cy="1352550"/>
          </a:xfrm>
        </p:grpSpPr>
        <p:sp>
          <p:nvSpPr>
            <p:cNvPr id="201" name="Freeform 6"/>
            <p:cNvSpPr>
              <a:spLocks/>
            </p:cNvSpPr>
            <p:nvPr/>
          </p:nvSpPr>
          <p:spPr bwMode="auto">
            <a:xfrm>
              <a:off x="3340100" y="4354513"/>
              <a:ext cx="2697163" cy="133191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</p:spPr>
          <p:txBody>
            <a:bodyPr lIns="274320" tIns="27432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 dirty="0">
                <a:solidFill>
                  <a:srgbClr val="FFFFFF">
                    <a:alpha val="99000"/>
                  </a:srgbClr>
                </a:solidFill>
                <a:latin typeface="+mj-lt"/>
                <a:cs typeface="+mn-cs"/>
              </a:endParaRPr>
            </a:p>
          </p:txBody>
        </p:sp>
        <p:sp>
          <p:nvSpPr>
            <p:cNvPr id="167" name="Rectangle 26"/>
            <p:cNvSpPr/>
            <p:nvPr/>
          </p:nvSpPr>
          <p:spPr>
            <a:xfrm>
              <a:off x="4523581" y="4768851"/>
              <a:ext cx="1224047" cy="91782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63" fontAlgn="auto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+mj-lt"/>
                </a:rPr>
                <a:t>Hosted </a:t>
              </a:r>
            </a:p>
            <a:p>
              <a:pPr algn="ctr" defTabSz="914363" fontAlgn="auto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+mj-lt"/>
                </a:rPr>
                <a:t>Service</a:t>
              </a: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5156" name="Picture 3" descr="D:\Users\Efrat\Downloads\2012-August-Redmond\T04-Azure\images\links.pn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8700" y="4822825"/>
              <a:ext cx="884238" cy="884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98" name="Straight Arrow Connector 45"/>
          <p:cNvCxnSpPr/>
          <p:nvPr>
            <p:custDataLst>
              <p:tags r:id="rId7"/>
            </p:custDataLst>
          </p:nvPr>
        </p:nvCxnSpPr>
        <p:spPr>
          <a:xfrm flipV="1">
            <a:off x="1173163" y="2209800"/>
            <a:ext cx="784225" cy="14398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5150" name="קבוצה 289816"/>
          <p:cNvGrpSpPr>
            <a:grpSpLocks/>
          </p:cNvGrpSpPr>
          <p:nvPr/>
        </p:nvGrpSpPr>
        <p:grpSpPr bwMode="auto">
          <a:xfrm>
            <a:off x="1816100" y="4891088"/>
            <a:ext cx="522288" cy="585787"/>
            <a:chOff x="1531916" y="4820068"/>
            <a:chExt cx="522903" cy="585718"/>
          </a:xfrm>
        </p:grpSpPr>
        <p:sp>
          <p:nvSpPr>
            <p:cNvPr id="5152" name="מלבן מעוגל 289805"/>
            <p:cNvSpPr>
              <a:spLocks noChangeArrowheads="1"/>
            </p:cNvSpPr>
            <p:nvPr/>
          </p:nvSpPr>
          <p:spPr bwMode="auto">
            <a:xfrm>
              <a:off x="1531916" y="4820068"/>
              <a:ext cx="522903" cy="585718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14:hiddenLine>
              </a:ext>
            </a:extLst>
          </p:spPr>
          <p:txBody>
            <a:bodyPr/>
            <a:lstStyle/>
            <a:p>
              <a:endParaRPr lang="he-IL"/>
            </a:p>
          </p:txBody>
        </p:sp>
        <p:sp>
          <p:nvSpPr>
            <p:cNvPr id="213" name="Freeform 164"/>
            <p:cNvSpPr>
              <a:spLocks noEditPoints="1"/>
            </p:cNvSpPr>
            <p:nvPr/>
          </p:nvSpPr>
          <p:spPr bwMode="black">
            <a:xfrm>
              <a:off x="1620921" y="4870862"/>
              <a:ext cx="356019" cy="492067"/>
            </a:xfrm>
            <a:custGeom>
              <a:avLst/>
              <a:gdLst>
                <a:gd name="T0" fmla="*/ 221 w 288"/>
                <a:gd name="T1" fmla="*/ 373 h 399"/>
                <a:gd name="T2" fmla="*/ 194 w 288"/>
                <a:gd name="T3" fmla="*/ 350 h 399"/>
                <a:gd name="T4" fmla="*/ 137 w 288"/>
                <a:gd name="T5" fmla="*/ 150 h 399"/>
                <a:gd name="T6" fmla="*/ 165 w 288"/>
                <a:gd name="T7" fmla="*/ 398 h 399"/>
                <a:gd name="T8" fmla="*/ 94 w 288"/>
                <a:gd name="T9" fmla="*/ 325 h 399"/>
                <a:gd name="T10" fmla="*/ 192 w 288"/>
                <a:gd name="T11" fmla="*/ 269 h 399"/>
                <a:gd name="T12" fmla="*/ 223 w 288"/>
                <a:gd name="T13" fmla="*/ 371 h 399"/>
                <a:gd name="T14" fmla="*/ 135 w 288"/>
                <a:gd name="T15" fmla="*/ 170 h 399"/>
                <a:gd name="T16" fmla="*/ 179 w 288"/>
                <a:gd name="T17" fmla="*/ 395 h 399"/>
                <a:gd name="T18" fmla="*/ 135 w 288"/>
                <a:gd name="T19" fmla="*/ 324 h 399"/>
                <a:gd name="T20" fmla="*/ 154 w 288"/>
                <a:gd name="T21" fmla="*/ 308 h 399"/>
                <a:gd name="T22" fmla="*/ 208 w 288"/>
                <a:gd name="T23" fmla="*/ 382 h 399"/>
                <a:gd name="T24" fmla="*/ 85 w 288"/>
                <a:gd name="T25" fmla="*/ 380 h 399"/>
                <a:gd name="T26" fmla="*/ 143 w 288"/>
                <a:gd name="T27" fmla="*/ 82 h 399"/>
                <a:gd name="T28" fmla="*/ 228 w 288"/>
                <a:gd name="T29" fmla="*/ 288 h 399"/>
                <a:gd name="T30" fmla="*/ 253 w 288"/>
                <a:gd name="T31" fmla="*/ 340 h 399"/>
                <a:gd name="T32" fmla="*/ 247 w 288"/>
                <a:gd name="T33" fmla="*/ 233 h 399"/>
                <a:gd name="T34" fmla="*/ 20 w 288"/>
                <a:gd name="T35" fmla="*/ 263 h 399"/>
                <a:gd name="T36" fmla="*/ 85 w 288"/>
                <a:gd name="T37" fmla="*/ 380 h 399"/>
                <a:gd name="T38" fmla="*/ 219 w 288"/>
                <a:gd name="T39" fmla="*/ 242 h 399"/>
                <a:gd name="T40" fmla="*/ 56 w 288"/>
                <a:gd name="T41" fmla="*/ 305 h 399"/>
                <a:gd name="T42" fmla="*/ 129 w 288"/>
                <a:gd name="T43" fmla="*/ 397 h 399"/>
                <a:gd name="T44" fmla="*/ 137 w 288"/>
                <a:gd name="T45" fmla="*/ 115 h 399"/>
                <a:gd name="T46" fmla="*/ 210 w 288"/>
                <a:gd name="T47" fmla="*/ 334 h 399"/>
                <a:gd name="T48" fmla="*/ 239 w 288"/>
                <a:gd name="T49" fmla="*/ 357 h 399"/>
                <a:gd name="T50" fmla="*/ 0 w 288"/>
                <a:gd name="T51" fmla="*/ 202 h 399"/>
                <a:gd name="T52" fmla="*/ 144 w 288"/>
                <a:gd name="T53" fmla="*/ 51 h 399"/>
                <a:gd name="T54" fmla="*/ 252 w 288"/>
                <a:gd name="T55" fmla="*/ 298 h 399"/>
                <a:gd name="T56" fmla="*/ 266 w 288"/>
                <a:gd name="T57" fmla="*/ 320 h 399"/>
                <a:gd name="T58" fmla="*/ 277 w 288"/>
                <a:gd name="T59" fmla="*/ 221 h 399"/>
                <a:gd name="T60" fmla="*/ 3 w 288"/>
                <a:gd name="T61" fmla="*/ 162 h 399"/>
                <a:gd name="T62" fmla="*/ 0 w 288"/>
                <a:gd name="T63" fmla="*/ 202 h 399"/>
                <a:gd name="T64" fmla="*/ 145 w 288"/>
                <a:gd name="T65" fmla="*/ 0 h 399"/>
                <a:gd name="T66" fmla="*/ 144 w 288"/>
                <a:gd name="T67" fmla="*/ 18 h 399"/>
                <a:gd name="T68" fmla="*/ 142 w 288"/>
                <a:gd name="T69" fmla="*/ 308 h 399"/>
                <a:gd name="T70" fmla="*/ 137 w 288"/>
                <a:gd name="T71" fmla="*/ 201 h 399"/>
                <a:gd name="T72" fmla="*/ 130 w 288"/>
                <a:gd name="T73" fmla="*/ 208 h 399"/>
                <a:gd name="T74" fmla="*/ 142 w 288"/>
                <a:gd name="T75" fmla="*/ 30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8" h="399">
                  <a:moveTo>
                    <a:pt x="223" y="371"/>
                  </a:moveTo>
                  <a:cubicBezTo>
                    <a:pt x="221" y="373"/>
                    <a:pt x="221" y="373"/>
                    <a:pt x="221" y="373"/>
                  </a:cubicBezTo>
                  <a:cubicBezTo>
                    <a:pt x="220" y="374"/>
                    <a:pt x="218" y="375"/>
                    <a:pt x="217" y="376"/>
                  </a:cubicBezTo>
                  <a:cubicBezTo>
                    <a:pt x="215" y="374"/>
                    <a:pt x="205" y="366"/>
                    <a:pt x="194" y="350"/>
                  </a:cubicBezTo>
                  <a:cubicBezTo>
                    <a:pt x="181" y="332"/>
                    <a:pt x="177" y="299"/>
                    <a:pt x="180" y="268"/>
                  </a:cubicBezTo>
                  <a:cubicBezTo>
                    <a:pt x="186" y="212"/>
                    <a:pt x="180" y="148"/>
                    <a:pt x="137" y="150"/>
                  </a:cubicBezTo>
                  <a:cubicBezTo>
                    <a:pt x="90" y="152"/>
                    <a:pt x="69" y="245"/>
                    <a:pt x="106" y="319"/>
                  </a:cubicBezTo>
                  <a:cubicBezTo>
                    <a:pt x="125" y="357"/>
                    <a:pt x="150" y="384"/>
                    <a:pt x="165" y="398"/>
                  </a:cubicBezTo>
                  <a:cubicBezTo>
                    <a:pt x="161" y="398"/>
                    <a:pt x="157" y="399"/>
                    <a:pt x="153" y="399"/>
                  </a:cubicBezTo>
                  <a:cubicBezTo>
                    <a:pt x="137" y="384"/>
                    <a:pt x="115" y="364"/>
                    <a:pt x="94" y="325"/>
                  </a:cubicBezTo>
                  <a:cubicBezTo>
                    <a:pt x="46" y="236"/>
                    <a:pt x="82" y="134"/>
                    <a:pt x="137" y="134"/>
                  </a:cubicBezTo>
                  <a:cubicBezTo>
                    <a:pt x="195" y="134"/>
                    <a:pt x="201" y="201"/>
                    <a:pt x="192" y="269"/>
                  </a:cubicBezTo>
                  <a:cubicBezTo>
                    <a:pt x="188" y="301"/>
                    <a:pt x="191" y="329"/>
                    <a:pt x="202" y="346"/>
                  </a:cubicBezTo>
                  <a:cubicBezTo>
                    <a:pt x="213" y="363"/>
                    <a:pt x="224" y="370"/>
                    <a:pt x="223" y="371"/>
                  </a:cubicBezTo>
                  <a:close/>
                  <a:moveTo>
                    <a:pt x="166" y="306"/>
                  </a:moveTo>
                  <a:cubicBezTo>
                    <a:pt x="163" y="275"/>
                    <a:pt x="185" y="172"/>
                    <a:pt x="135" y="170"/>
                  </a:cubicBezTo>
                  <a:cubicBezTo>
                    <a:pt x="104" y="169"/>
                    <a:pt x="77" y="248"/>
                    <a:pt x="125" y="329"/>
                  </a:cubicBezTo>
                  <a:cubicBezTo>
                    <a:pt x="143" y="361"/>
                    <a:pt x="166" y="383"/>
                    <a:pt x="179" y="395"/>
                  </a:cubicBezTo>
                  <a:cubicBezTo>
                    <a:pt x="182" y="394"/>
                    <a:pt x="185" y="393"/>
                    <a:pt x="188" y="392"/>
                  </a:cubicBezTo>
                  <a:cubicBezTo>
                    <a:pt x="177" y="381"/>
                    <a:pt x="153" y="358"/>
                    <a:pt x="135" y="324"/>
                  </a:cubicBezTo>
                  <a:cubicBezTo>
                    <a:pt x="101" y="266"/>
                    <a:pt x="110" y="186"/>
                    <a:pt x="135" y="186"/>
                  </a:cubicBezTo>
                  <a:cubicBezTo>
                    <a:pt x="168" y="186"/>
                    <a:pt x="149" y="268"/>
                    <a:pt x="154" y="308"/>
                  </a:cubicBezTo>
                  <a:cubicBezTo>
                    <a:pt x="160" y="352"/>
                    <a:pt x="187" y="377"/>
                    <a:pt x="200" y="386"/>
                  </a:cubicBezTo>
                  <a:cubicBezTo>
                    <a:pt x="203" y="385"/>
                    <a:pt x="205" y="384"/>
                    <a:pt x="208" y="382"/>
                  </a:cubicBezTo>
                  <a:cubicBezTo>
                    <a:pt x="199" y="375"/>
                    <a:pt x="170" y="350"/>
                    <a:pt x="166" y="306"/>
                  </a:cubicBezTo>
                  <a:close/>
                  <a:moveTo>
                    <a:pt x="85" y="380"/>
                  </a:moveTo>
                  <a:cubicBezTo>
                    <a:pt x="65" y="357"/>
                    <a:pt x="36" y="313"/>
                    <a:pt x="31" y="261"/>
                  </a:cubicBezTo>
                  <a:cubicBezTo>
                    <a:pt x="25" y="164"/>
                    <a:pt x="66" y="82"/>
                    <a:pt x="143" y="82"/>
                  </a:cubicBezTo>
                  <a:cubicBezTo>
                    <a:pt x="213" y="82"/>
                    <a:pt x="241" y="157"/>
                    <a:pt x="235" y="231"/>
                  </a:cubicBezTo>
                  <a:cubicBezTo>
                    <a:pt x="234" y="251"/>
                    <a:pt x="228" y="269"/>
                    <a:pt x="228" y="288"/>
                  </a:cubicBezTo>
                  <a:cubicBezTo>
                    <a:pt x="227" y="320"/>
                    <a:pt x="236" y="334"/>
                    <a:pt x="248" y="347"/>
                  </a:cubicBezTo>
                  <a:cubicBezTo>
                    <a:pt x="250" y="345"/>
                    <a:pt x="251" y="343"/>
                    <a:pt x="253" y="340"/>
                  </a:cubicBezTo>
                  <a:cubicBezTo>
                    <a:pt x="246" y="330"/>
                    <a:pt x="237" y="313"/>
                    <a:pt x="238" y="289"/>
                  </a:cubicBezTo>
                  <a:cubicBezTo>
                    <a:pt x="239" y="273"/>
                    <a:pt x="243" y="254"/>
                    <a:pt x="247" y="233"/>
                  </a:cubicBezTo>
                  <a:cubicBezTo>
                    <a:pt x="257" y="169"/>
                    <a:pt x="233" y="66"/>
                    <a:pt x="143" y="65"/>
                  </a:cubicBezTo>
                  <a:cubicBezTo>
                    <a:pt x="77" y="64"/>
                    <a:pt x="7" y="129"/>
                    <a:pt x="20" y="263"/>
                  </a:cubicBezTo>
                  <a:cubicBezTo>
                    <a:pt x="24" y="299"/>
                    <a:pt x="39" y="330"/>
                    <a:pt x="54" y="354"/>
                  </a:cubicBezTo>
                  <a:cubicBezTo>
                    <a:pt x="64" y="365"/>
                    <a:pt x="74" y="373"/>
                    <a:pt x="85" y="380"/>
                  </a:cubicBezTo>
                  <a:close/>
                  <a:moveTo>
                    <a:pt x="219" y="331"/>
                  </a:moveTo>
                  <a:cubicBezTo>
                    <a:pt x="211" y="309"/>
                    <a:pt x="212" y="277"/>
                    <a:pt x="219" y="242"/>
                  </a:cubicBezTo>
                  <a:cubicBezTo>
                    <a:pt x="228" y="183"/>
                    <a:pt x="216" y="99"/>
                    <a:pt x="137" y="99"/>
                  </a:cubicBezTo>
                  <a:cubicBezTo>
                    <a:pt x="73" y="99"/>
                    <a:pt x="16" y="198"/>
                    <a:pt x="56" y="305"/>
                  </a:cubicBezTo>
                  <a:cubicBezTo>
                    <a:pt x="72" y="346"/>
                    <a:pt x="96" y="376"/>
                    <a:pt x="113" y="393"/>
                  </a:cubicBezTo>
                  <a:cubicBezTo>
                    <a:pt x="118" y="395"/>
                    <a:pt x="123" y="396"/>
                    <a:pt x="129" y="397"/>
                  </a:cubicBezTo>
                  <a:cubicBezTo>
                    <a:pt x="113" y="382"/>
                    <a:pt x="84" y="348"/>
                    <a:pt x="67" y="300"/>
                  </a:cubicBezTo>
                  <a:cubicBezTo>
                    <a:pt x="37" y="213"/>
                    <a:pt x="79" y="116"/>
                    <a:pt x="137" y="115"/>
                  </a:cubicBezTo>
                  <a:cubicBezTo>
                    <a:pt x="189" y="114"/>
                    <a:pt x="216" y="168"/>
                    <a:pt x="208" y="239"/>
                  </a:cubicBezTo>
                  <a:cubicBezTo>
                    <a:pt x="201" y="274"/>
                    <a:pt x="200" y="310"/>
                    <a:pt x="210" y="334"/>
                  </a:cubicBezTo>
                  <a:cubicBezTo>
                    <a:pt x="217" y="351"/>
                    <a:pt x="228" y="359"/>
                    <a:pt x="233" y="363"/>
                  </a:cubicBezTo>
                  <a:cubicBezTo>
                    <a:pt x="235" y="361"/>
                    <a:pt x="237" y="359"/>
                    <a:pt x="239" y="357"/>
                  </a:cubicBezTo>
                  <a:cubicBezTo>
                    <a:pt x="235" y="354"/>
                    <a:pt x="225" y="347"/>
                    <a:pt x="219" y="331"/>
                  </a:cubicBezTo>
                  <a:close/>
                  <a:moveTo>
                    <a:pt x="0" y="202"/>
                  </a:moveTo>
                  <a:cubicBezTo>
                    <a:pt x="0" y="217"/>
                    <a:pt x="1" y="231"/>
                    <a:pt x="4" y="245"/>
                  </a:cubicBezTo>
                  <a:cubicBezTo>
                    <a:pt x="6" y="146"/>
                    <a:pt x="40" y="49"/>
                    <a:pt x="144" y="51"/>
                  </a:cubicBezTo>
                  <a:cubicBezTo>
                    <a:pt x="230" y="51"/>
                    <a:pt x="271" y="143"/>
                    <a:pt x="262" y="219"/>
                  </a:cubicBezTo>
                  <a:cubicBezTo>
                    <a:pt x="259" y="248"/>
                    <a:pt x="252" y="276"/>
                    <a:pt x="252" y="298"/>
                  </a:cubicBezTo>
                  <a:cubicBezTo>
                    <a:pt x="252" y="315"/>
                    <a:pt x="258" y="326"/>
                    <a:pt x="260" y="330"/>
                  </a:cubicBezTo>
                  <a:cubicBezTo>
                    <a:pt x="262" y="327"/>
                    <a:pt x="264" y="323"/>
                    <a:pt x="266" y="320"/>
                  </a:cubicBezTo>
                  <a:cubicBezTo>
                    <a:pt x="263" y="314"/>
                    <a:pt x="261" y="308"/>
                    <a:pt x="262" y="298"/>
                  </a:cubicBezTo>
                  <a:cubicBezTo>
                    <a:pt x="262" y="279"/>
                    <a:pt x="272" y="252"/>
                    <a:pt x="277" y="221"/>
                  </a:cubicBezTo>
                  <a:cubicBezTo>
                    <a:pt x="288" y="144"/>
                    <a:pt x="247" y="31"/>
                    <a:pt x="144" y="31"/>
                  </a:cubicBezTo>
                  <a:cubicBezTo>
                    <a:pt x="62" y="32"/>
                    <a:pt x="18" y="92"/>
                    <a:pt x="3" y="162"/>
                  </a:cubicBezTo>
                  <a:cubicBezTo>
                    <a:pt x="1" y="175"/>
                    <a:pt x="0" y="188"/>
                    <a:pt x="0" y="201"/>
                  </a:cubicBezTo>
                  <a:cubicBezTo>
                    <a:pt x="0" y="201"/>
                    <a:pt x="0" y="202"/>
                    <a:pt x="0" y="202"/>
                  </a:cubicBezTo>
                  <a:close/>
                  <a:moveTo>
                    <a:pt x="262" y="75"/>
                  </a:moveTo>
                  <a:cubicBezTo>
                    <a:pt x="244" y="44"/>
                    <a:pt x="206" y="0"/>
                    <a:pt x="145" y="0"/>
                  </a:cubicBezTo>
                  <a:cubicBezTo>
                    <a:pt x="108" y="0"/>
                    <a:pt x="80" y="18"/>
                    <a:pt x="58" y="40"/>
                  </a:cubicBezTo>
                  <a:cubicBezTo>
                    <a:pt x="60" y="39"/>
                    <a:pt x="91" y="18"/>
                    <a:pt x="144" y="18"/>
                  </a:cubicBezTo>
                  <a:cubicBezTo>
                    <a:pt x="220" y="18"/>
                    <a:pt x="262" y="75"/>
                    <a:pt x="262" y="75"/>
                  </a:cubicBezTo>
                  <a:close/>
                  <a:moveTo>
                    <a:pt x="142" y="308"/>
                  </a:moveTo>
                  <a:cubicBezTo>
                    <a:pt x="140" y="294"/>
                    <a:pt x="141" y="277"/>
                    <a:pt x="142" y="260"/>
                  </a:cubicBezTo>
                  <a:cubicBezTo>
                    <a:pt x="143" y="238"/>
                    <a:pt x="144" y="209"/>
                    <a:pt x="137" y="201"/>
                  </a:cubicBezTo>
                  <a:cubicBezTo>
                    <a:pt x="137" y="201"/>
                    <a:pt x="137" y="201"/>
                    <a:pt x="135" y="201"/>
                  </a:cubicBezTo>
                  <a:cubicBezTo>
                    <a:pt x="135" y="201"/>
                    <a:pt x="132" y="202"/>
                    <a:pt x="130" y="208"/>
                  </a:cubicBezTo>
                  <a:cubicBezTo>
                    <a:pt x="122" y="227"/>
                    <a:pt x="122" y="271"/>
                    <a:pt x="141" y="308"/>
                  </a:cubicBezTo>
                  <a:cubicBezTo>
                    <a:pt x="141" y="309"/>
                    <a:pt x="142" y="309"/>
                    <a:pt x="142" y="3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82305" tIns="41153" rIns="82305" bIns="41153"/>
            <a:lstStyle/>
            <a:p>
              <a:pPr>
                <a:defRPr/>
              </a:pPr>
              <a:endParaRPr lang="en-US">
                <a:latin typeface="+mj-lt"/>
                <a:cs typeface="+mn-cs"/>
              </a:endParaRPr>
            </a:p>
          </p:txBody>
        </p:sp>
      </p:grpSp>
      <p:cxnSp>
        <p:nvCxnSpPr>
          <p:cNvPr id="219" name="Straight Arrow Connector 52"/>
          <p:cNvCxnSpPr/>
          <p:nvPr>
            <p:custDataLst>
              <p:tags r:id="rId8"/>
            </p:custDataLst>
          </p:nvPr>
        </p:nvCxnSpPr>
        <p:spPr>
          <a:xfrm flipV="1">
            <a:off x="5662613" y="3870325"/>
            <a:ext cx="1201737" cy="69215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3851920" y="5805264"/>
            <a:ext cx="2243137" cy="598488"/>
            <a:chOff x="4055738" y="6025572"/>
            <a:chExt cx="2243440" cy="598746"/>
          </a:xfrm>
        </p:grpSpPr>
        <p:sp>
          <p:nvSpPr>
            <p:cNvPr id="180" name="Rectangle 38"/>
            <p:cNvSpPr/>
            <p:nvPr>
              <p:custDataLst>
                <p:tags r:id="rId16"/>
              </p:custDataLst>
            </p:nvPr>
          </p:nvSpPr>
          <p:spPr>
            <a:xfrm>
              <a:off x="4523581" y="6025572"/>
              <a:ext cx="1775597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Windows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 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Azure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 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Caching</a:t>
              </a:r>
            </a:p>
          </p:txBody>
        </p:sp>
        <p:pic>
          <p:nvPicPr>
            <p:cNvPr id="225" name="Picture 1"/>
            <p:cNvPicPr>
              <a:picLocks noChangeAspect="1"/>
            </p:cNvPicPr>
            <p:nvPr/>
          </p:nvPicPr>
          <p:blipFill>
            <a:blip r:embed="rId2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55738" y="6036501"/>
              <a:ext cx="587817" cy="58781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3697288" y="2511425"/>
            <a:ext cx="3740150" cy="1190625"/>
            <a:chOff x="3696645" y="2511410"/>
            <a:chExt cx="3740119" cy="1190472"/>
          </a:xfrm>
        </p:grpSpPr>
        <p:sp>
          <p:nvSpPr>
            <p:cNvPr id="156" name="Rectangle 43"/>
            <p:cNvSpPr/>
            <p:nvPr>
              <p:custDataLst>
                <p:tags r:id="rId12"/>
              </p:custDataLst>
            </p:nvPr>
          </p:nvSpPr>
          <p:spPr bwMode="auto">
            <a:xfrm>
              <a:off x="3708724" y="3466761"/>
              <a:ext cx="1438959" cy="235121"/>
            </a:xfrm>
            <a:prstGeom prst="rect">
              <a:avLst/>
            </a:prstGeom>
            <a:solidFill>
              <a:srgbClr val="8CC6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36000" anchor="ctr"/>
            <a:lstStyle/>
            <a:p>
              <a:pPr algn="ctr" defTabSz="1218936" eaLnBrk="1" hangingPunct="1"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ea typeface="Segoe UI" pitchFamily="34" charset="0"/>
                  <a:cs typeface="Segoe UI" pitchFamily="34" charset="0"/>
                </a:rPr>
                <a:t>Web App</a:t>
              </a:r>
            </a:p>
          </p:txBody>
        </p:sp>
        <p:sp>
          <p:nvSpPr>
            <p:cNvPr id="165" name="Rectangle 54"/>
            <p:cNvSpPr/>
            <p:nvPr>
              <p:custDataLst>
                <p:tags r:id="rId13"/>
              </p:custDataLst>
            </p:nvPr>
          </p:nvSpPr>
          <p:spPr>
            <a:xfrm>
              <a:off x="3964435" y="2511410"/>
              <a:ext cx="3472329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Cache control </a:t>
              </a:r>
              <a:b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</a:b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Versioned URLs</a:t>
              </a:r>
            </a:p>
          </p:txBody>
        </p:sp>
        <p:cxnSp>
          <p:nvCxnSpPr>
            <p:cNvPr id="217" name="Straight Arrow Connector 45"/>
            <p:cNvCxnSpPr/>
            <p:nvPr>
              <p:custDataLst>
                <p:tags r:id="rId14"/>
              </p:custDataLst>
            </p:nvPr>
          </p:nvCxnSpPr>
          <p:spPr>
            <a:xfrm>
              <a:off x="3988743" y="3378074"/>
              <a:ext cx="2578079" cy="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240" name="Rectangle 43"/>
            <p:cNvSpPr/>
            <p:nvPr>
              <p:custDataLst>
                <p:tags r:id="rId15"/>
              </p:custDataLst>
            </p:nvPr>
          </p:nvSpPr>
          <p:spPr bwMode="auto">
            <a:xfrm>
              <a:off x="3696645" y="3066152"/>
              <a:ext cx="1438959" cy="235121"/>
            </a:xfrm>
            <a:prstGeom prst="rect">
              <a:avLst/>
            </a:prstGeom>
            <a:solidFill>
              <a:srgbClr val="8CC6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36000" anchor="ctr"/>
            <a:lstStyle/>
            <a:p>
              <a:pPr algn="ctr" defTabSz="1218936" eaLnBrk="1" hangingPunct="1"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ea typeface="Segoe UI" pitchFamily="34" charset="0"/>
                  <a:cs typeface="Segoe UI" pitchFamily="34" charset="0"/>
                </a:rPr>
                <a:t>Public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6489700" y="2219325"/>
            <a:ext cx="1446213" cy="1835150"/>
            <a:chOff x="6490184" y="2219065"/>
            <a:chExt cx="1446377" cy="1834842"/>
          </a:xfrm>
        </p:grpSpPr>
        <p:sp>
          <p:nvSpPr>
            <p:cNvPr id="148" name="Rectangle 11"/>
            <p:cNvSpPr/>
            <p:nvPr>
              <p:custDataLst>
                <p:tags r:id="rId9"/>
              </p:custDataLst>
            </p:nvPr>
          </p:nvSpPr>
          <p:spPr>
            <a:xfrm>
              <a:off x="6528165" y="2219065"/>
              <a:ext cx="1359736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latin typeface="+mj-lt"/>
                  <a:cs typeface="+mn-cs"/>
                </a:rPr>
                <a:t>Blob Storage</a:t>
              </a:r>
            </a:p>
          </p:txBody>
        </p:sp>
        <p:pic>
          <p:nvPicPr>
            <p:cNvPr id="233" name="Picture 4" descr="D:\Users\Efrat\Downloads\2012-August-Redmond\T04-Azure\images\266209.jpg"/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0184" y="2607530"/>
              <a:ext cx="1446377" cy="1446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5" name="Pentagon 27"/>
            <p:cNvSpPr/>
            <p:nvPr>
              <p:custDataLst>
                <p:tags r:id="rId10"/>
              </p:custDataLst>
            </p:nvPr>
          </p:nvSpPr>
          <p:spPr bwMode="auto">
            <a:xfrm rot="239544">
              <a:off x="6644361" y="3177278"/>
              <a:ext cx="787568" cy="250571"/>
            </a:xfrm>
            <a:prstGeom prst="homePlate">
              <a:avLst/>
            </a:prstGeom>
            <a:solidFill>
              <a:srgbClr val="00AEEF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1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Public</a:t>
              </a:r>
            </a:p>
          </p:txBody>
        </p:sp>
        <p:sp>
          <p:nvSpPr>
            <p:cNvPr id="246" name="Pentagon 29"/>
            <p:cNvSpPr/>
            <p:nvPr>
              <p:custDataLst>
                <p:tags r:id="rId11"/>
              </p:custDataLst>
            </p:nvPr>
          </p:nvSpPr>
          <p:spPr bwMode="auto">
            <a:xfrm rot="239544">
              <a:off x="6644361" y="3418791"/>
              <a:ext cx="787568" cy="250571"/>
            </a:xfrm>
            <a:prstGeom prst="homePlat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45718" anchor="ctr"/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1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Priv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3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We Had the Entire Week…</a:t>
            </a:r>
            <a:endParaRPr lang="he-IL" dirty="0"/>
          </a:p>
        </p:txBody>
      </p:sp>
      <p:sp>
        <p:nvSpPr>
          <p:cNvPr id="33" name="Rounded Rectangle 32"/>
          <p:cNvSpPr/>
          <p:nvPr/>
        </p:nvSpPr>
        <p:spPr bwMode="auto">
          <a:xfrm>
            <a:off x="599058" y="1787302"/>
            <a:ext cx="8293422" cy="755650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/>
          <a:extLst/>
        </p:spPr>
        <p:txBody>
          <a:bodyPr rtlCol="1"/>
          <a:lstStyle/>
          <a:p>
            <a:pPr>
              <a:defRPr/>
            </a:pPr>
            <a:endParaRPr lang="he-IL" sz="1200" ker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302320" y="1817464"/>
            <a:ext cx="7246938" cy="677863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  <a:t>Working with Data</a:t>
            </a:r>
            <a:b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</a:br>
            <a:r>
              <a:rPr lang="en-US" sz="1800" kern="0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SQL Server, SQL Federation, </a:t>
            </a:r>
            <a:r>
              <a:rPr lang="en-US" sz="1800" kern="0" dirty="0" err="1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NoSQL</a:t>
            </a:r>
            <a:endParaRPr lang="en-US" sz="1800" kern="0" dirty="0">
              <a:solidFill>
                <a:srgbClr val="FFFFFF">
                  <a:lumMod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94308" y="1887314"/>
            <a:ext cx="423862" cy="755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0" dirty="0">
                <a:solidFill>
                  <a:srgbClr val="00B0EB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/>
                <a:ea typeface="+mj-ea"/>
                <a:cs typeface="+mj-cs"/>
              </a:rPr>
              <a:t>1</a:t>
            </a:r>
            <a:endParaRPr lang="he-IL" sz="1800" kern="0" dirty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 bwMode="auto">
          <a:xfrm>
            <a:off x="599058" y="2831877"/>
            <a:ext cx="8293422" cy="757237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9000"/>
            </a:schemeClr>
          </a:solidFill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/>
          <a:extLst/>
        </p:spPr>
        <p:txBody>
          <a:bodyPr rtlCol="1"/>
          <a:lstStyle/>
          <a:p>
            <a:pPr>
              <a:defRPr/>
            </a:pPr>
            <a:endParaRPr lang="he-IL" sz="1200" ker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302321" y="2863627"/>
            <a:ext cx="7389644" cy="75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  <a:t>Hosting and Deploying</a:t>
            </a:r>
          </a:p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1800" kern="0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Traffic Manager, Virtual Machines, Web Sit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94308" y="2931889"/>
            <a:ext cx="423862" cy="755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0" dirty="0">
                <a:solidFill>
                  <a:srgbClr val="DADADA">
                    <a:lumMod val="50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/>
                <a:ea typeface="+mj-ea"/>
                <a:cs typeface="+mj-cs"/>
              </a:rPr>
              <a:t>2</a:t>
            </a:r>
            <a:endParaRPr lang="he-IL" sz="1800" kern="0" dirty="0">
              <a:solidFill>
                <a:srgbClr val="DADADA">
                  <a:lumMod val="50000"/>
                </a:srgbClr>
              </a:solidFill>
              <a:cs typeface="+mn-cs"/>
            </a:endParaRPr>
          </a:p>
        </p:txBody>
      </p:sp>
      <p:sp>
        <p:nvSpPr>
          <p:cNvPr id="39" name="Rounded Rectangle 38"/>
          <p:cNvSpPr/>
          <p:nvPr/>
        </p:nvSpPr>
        <p:spPr bwMode="auto">
          <a:xfrm>
            <a:off x="599058" y="3898677"/>
            <a:ext cx="8293422" cy="7556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9000"/>
            </a:schemeClr>
          </a:solidFill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/>
          <a:extLst/>
        </p:spPr>
        <p:txBody>
          <a:bodyPr rtlCol="1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e-IL" sz="12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302320" y="3928839"/>
            <a:ext cx="7446144" cy="7508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  <a:t>Networking and Messaging</a:t>
            </a:r>
          </a:p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1800" kern="0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Service Bus, Queues, Virtual Network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94308" y="3998689"/>
            <a:ext cx="423862" cy="755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0" dirty="0">
                <a:solidFill>
                  <a:srgbClr val="DADADA">
                    <a:lumMod val="50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/>
                <a:ea typeface="+mj-ea"/>
                <a:cs typeface="+mj-cs"/>
              </a:rPr>
              <a:t>3</a:t>
            </a:r>
            <a:endParaRPr lang="he-IL" sz="1800" kern="0" dirty="0">
              <a:solidFill>
                <a:srgbClr val="DADADA">
                  <a:lumMod val="50000"/>
                </a:srgbClr>
              </a:solidFill>
              <a:cs typeface="+mn-cs"/>
            </a:endParaRPr>
          </a:p>
        </p:txBody>
      </p:sp>
      <p:sp>
        <p:nvSpPr>
          <p:cNvPr id="42" name="Rounded Rectangle 41"/>
          <p:cNvSpPr/>
          <p:nvPr/>
        </p:nvSpPr>
        <p:spPr bwMode="auto">
          <a:xfrm>
            <a:off x="599058" y="4949602"/>
            <a:ext cx="8293422" cy="75565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9000"/>
            </a:schemeClr>
          </a:solidFill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/>
          <a:extLst/>
        </p:spPr>
        <p:txBody>
          <a:bodyPr rtlCol="1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he-IL" sz="12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302320" y="4979764"/>
            <a:ext cx="7246938" cy="677863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96938" eaLnBrk="1" fontAlgn="auto" hangingPunct="1">
              <a:spcBef>
                <a:spcPct val="10000"/>
              </a:spcBef>
              <a:spcAft>
                <a:spcPct val="15000"/>
              </a:spcAft>
              <a:buClr>
                <a:srgbClr val="00B0EB"/>
              </a:buClr>
              <a:buSzPct val="75000"/>
              <a:tabLst>
                <a:tab pos="1387475" algn="l"/>
                <a:tab pos="1706563" algn="l"/>
                <a:tab pos="2079625" algn="l"/>
              </a:tabLst>
              <a:defRPr/>
            </a:pPr>
            <a: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  <a:t>Developing</a:t>
            </a:r>
            <a:br>
              <a:rPr lang="en-US" sz="2000" b="1" kern="0" dirty="0">
                <a:solidFill>
                  <a:srgbClr val="000000"/>
                </a:solidFill>
                <a:latin typeface="Arial"/>
                <a:cs typeface="+mn-cs"/>
              </a:rPr>
            </a:br>
            <a:r>
              <a:rPr lang="en-US" sz="1800" kern="0" dirty="0">
                <a:solidFill>
                  <a:srgbClr val="FFFFFF">
                    <a:lumMod val="50000"/>
                  </a:srgbClr>
                </a:solidFill>
                <a:latin typeface="Arial"/>
                <a:cs typeface="+mn-cs"/>
              </a:rPr>
              <a:t>Non-.NET support - Java, PHP, Node.js …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94308" y="5049614"/>
            <a:ext cx="423862" cy="755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kern="0" dirty="0">
                <a:solidFill>
                  <a:srgbClr val="DADADA">
                    <a:lumMod val="50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/>
                <a:ea typeface="+mj-ea"/>
                <a:cs typeface="+mj-cs"/>
              </a:rPr>
              <a:t>4</a:t>
            </a:r>
            <a:endParaRPr lang="he-IL" sz="1800" kern="0" dirty="0">
              <a:solidFill>
                <a:srgbClr val="DADADA">
                  <a:lumMod val="50000"/>
                </a:srgb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8768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D6D6D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animClr clrSpc="rgb" dir="cw">
                                      <p:cBhvr>
                                        <p:cTn id="1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set>
                                      <p:cBhvr>
                                        <p:cTn id="1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B0EB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9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animClr clrSpc="rgb" dir="cw">
                                      <p:cBhvr>
                                        <p:cTn id="2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D6D6D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0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animClr clrSpc="rgb" dir="cw">
                                      <p:cBhvr>
                                        <p:cTn id="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B0EB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9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animClr clrSpc="rgb" dir="cw">
                                      <p:cBhvr>
                                        <p:cTn id="4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B9CDE5"/>
                                      </p:to>
                                    </p:animClr>
                                    <p:set>
                                      <p:cBhvr>
                                        <p:cTn id="4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D6D6D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animClr clrSpc="rgb" dir="cw">
                                      <p:cBhvr>
                                        <p:cTn id="4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DD9C3"/>
                                      </p:to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B0EB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5" grpId="0"/>
      <p:bldP spid="36" grpId="0" animBg="1"/>
      <p:bldP spid="36" grpId="1" animBg="1"/>
      <p:bldP spid="38" grpId="0"/>
      <p:bldP spid="38" grpId="1"/>
      <p:bldP spid="39" grpId="0" animBg="1"/>
      <p:bldP spid="39" grpId="1" animBg="1"/>
      <p:bldP spid="41" grpId="0"/>
      <p:bldP spid="41" grpId="1"/>
      <p:bldP spid="42" grpId="0" animBg="1"/>
      <p:bldP spid="4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indows Azure Resources</a:t>
            </a:r>
            <a:endParaRPr lang="he-IL" dirty="0"/>
          </a:p>
        </p:txBody>
      </p:sp>
      <p:sp>
        <p:nvSpPr>
          <p:cNvPr id="24579" name="Content Placeholder 3"/>
          <p:cNvSpPr>
            <a:spLocks noGrp="1"/>
          </p:cNvSpPr>
          <p:nvPr>
            <p:ph idx="1"/>
          </p:nvPr>
        </p:nvSpPr>
        <p:spPr>
          <a:xfrm>
            <a:off x="457200" y="1219200"/>
            <a:ext cx="8435280" cy="5154195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Windows Azure landing page</a:t>
            </a:r>
          </a:p>
          <a:p>
            <a:pPr lvl="1"/>
            <a:r>
              <a:rPr lang="en-US" sz="2600" dirty="0" smtClean="0"/>
              <a:t>http://www.windowsazure.com </a:t>
            </a:r>
            <a:endParaRPr lang="en-US" sz="2600" dirty="0" smtClean="0">
              <a:hlinkClick r:id="rId2"/>
            </a:endParaRPr>
          </a:p>
          <a:p>
            <a:r>
              <a:rPr lang="en-US" dirty="0" smtClean="0"/>
              <a:t>Training course</a:t>
            </a:r>
          </a:p>
          <a:p>
            <a:pPr lvl="1"/>
            <a:r>
              <a:rPr lang="en-US" sz="2600" dirty="0" smtClean="0"/>
              <a:t>http://msdn.microsoft.com/WAZPlatformTrainingCourse (Online)</a:t>
            </a:r>
          </a:p>
          <a:p>
            <a:pPr lvl="1"/>
            <a:r>
              <a:rPr lang="en-US" sz="2600" dirty="0" smtClean="0"/>
              <a:t>http://www.microsoft.com/download/details.aspx?id=8396 (Offline)</a:t>
            </a:r>
          </a:p>
          <a:p>
            <a:r>
              <a:rPr lang="en-US" dirty="0" smtClean="0"/>
              <a:t>Forums and Blogs</a:t>
            </a:r>
          </a:p>
          <a:p>
            <a:pPr lvl="1"/>
            <a:r>
              <a:rPr lang="en-US" sz="2600" dirty="0" smtClean="0"/>
              <a:t>http://www.windowsazure.com/support/forums</a:t>
            </a:r>
          </a:p>
          <a:p>
            <a:pPr lvl="1"/>
            <a:r>
              <a:rPr lang="en-US" sz="2600" dirty="0" smtClean="0"/>
              <a:t>http://blogs.msdn.com/b/windowsazure</a:t>
            </a:r>
          </a:p>
          <a:p>
            <a:endParaRPr lang="en-US" dirty="0" smtClean="0"/>
          </a:p>
          <a:p>
            <a:r>
              <a:rPr lang="en-US" dirty="0" smtClean="0"/>
              <a:t>My info</a:t>
            </a:r>
          </a:p>
          <a:p>
            <a:pPr lvl="1"/>
            <a:r>
              <a:rPr lang="en-US" dirty="0" smtClean="0"/>
              <a:t>Blog:  	http://blogs.microsoft.co.il/blogs/idof</a:t>
            </a:r>
          </a:p>
          <a:p>
            <a:pPr lvl="1"/>
            <a:r>
              <a:rPr lang="en-US" dirty="0" smtClean="0"/>
              <a:t>Email:	idof@sela.co.il</a:t>
            </a:r>
          </a:p>
          <a:p>
            <a:pPr lvl="1"/>
            <a:r>
              <a:rPr lang="en-US" dirty="0" smtClean="0"/>
              <a:t>Twitter: 	@</a:t>
            </a:r>
            <a:r>
              <a:rPr lang="en-US" dirty="0" err="1" smtClean="0"/>
              <a:t>idoFlatow</a:t>
            </a:r>
            <a:endParaRPr lang="en-US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5523508" y="1224136"/>
            <a:ext cx="3512988" cy="83671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This session is available at:</a:t>
            </a:r>
          </a:p>
          <a:p>
            <a:pPr algn="ctr"/>
            <a:r>
              <a:rPr lang="en-US" dirty="0">
                <a:solidFill>
                  <a:schemeClr val="bg1"/>
                </a:solidFill>
                <a:ea typeface="Arial" charset="0"/>
                <a:cs typeface="Arial" charset="0"/>
              </a:rPr>
              <a:t>http://</a:t>
            </a:r>
            <a:r>
              <a:rPr lang="en-US" dirty="0" smtClean="0">
                <a:solidFill>
                  <a:schemeClr val="bg1"/>
                </a:solidFill>
                <a:ea typeface="Arial" charset="0"/>
                <a:cs typeface="Arial" charset="0"/>
              </a:rPr>
              <a:t>bit.ly/devreach-2012-idof</a:t>
            </a:r>
            <a:endParaRPr lang="en-US" dirty="0">
              <a:solidFill>
                <a:schemeClr val="bg1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1993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On-Premise </a:t>
            </a:r>
            <a:r>
              <a:rPr lang="en-US" sz="3600" dirty="0"/>
              <a:t>Web Application</a:t>
            </a:r>
            <a:br>
              <a:rPr lang="en-US" sz="3600" dirty="0"/>
            </a:br>
            <a:r>
              <a:rPr lang="en-US" sz="3600" dirty="0"/>
              <a:t>Architectural Overview</a:t>
            </a:r>
            <a:endParaRPr lang="he-IL" sz="3600" dirty="0"/>
          </a:p>
        </p:txBody>
      </p:sp>
      <p:grpSp>
        <p:nvGrpSpPr>
          <p:cNvPr id="12" name="Group 11"/>
          <p:cNvGrpSpPr>
            <a:grpSpLocks/>
          </p:cNvGrpSpPr>
          <p:nvPr/>
        </p:nvGrpSpPr>
        <p:grpSpPr bwMode="auto">
          <a:xfrm>
            <a:off x="6880621" y="3074262"/>
            <a:ext cx="1147763" cy="914400"/>
            <a:chOff x="7141211" y="5402486"/>
            <a:chExt cx="1146689" cy="914776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7209410" y="5472365"/>
              <a:ext cx="1000775" cy="809958"/>
            </a:xfrm>
            <a:custGeom>
              <a:avLst/>
              <a:gdLst>
                <a:gd name="T0" fmla="*/ 34 w 3145"/>
                <a:gd name="T1" fmla="*/ 531 h 3133"/>
                <a:gd name="T2" fmla="*/ 1591 w 3145"/>
                <a:gd name="T3" fmla="*/ 0 h 3133"/>
                <a:gd name="T4" fmla="*/ 1591 w 3145"/>
                <a:gd name="T5" fmla="*/ 0 h 3133"/>
                <a:gd name="T6" fmla="*/ 3145 w 3145"/>
                <a:gd name="T7" fmla="*/ 531 h 3133"/>
                <a:gd name="T8" fmla="*/ 3145 w 3145"/>
                <a:gd name="T9" fmla="*/ 2589 h 3133"/>
                <a:gd name="T10" fmla="*/ 3024 w 3145"/>
                <a:gd name="T11" fmla="*/ 2837 h 3133"/>
                <a:gd name="T12" fmla="*/ 2384 w 3145"/>
                <a:gd name="T13" fmla="*/ 3005 h 3133"/>
                <a:gd name="T14" fmla="*/ 960 w 3145"/>
                <a:gd name="T15" fmla="*/ 3133 h 3133"/>
                <a:gd name="T16" fmla="*/ 0 w 3145"/>
                <a:gd name="T17" fmla="*/ 2597 h 3133"/>
                <a:gd name="T18" fmla="*/ 34 w 3145"/>
                <a:gd name="T19" fmla="*/ 531 h 3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5" h="3133">
                  <a:moveTo>
                    <a:pt x="34" y="531"/>
                  </a:moveTo>
                  <a:cubicBezTo>
                    <a:pt x="34" y="238"/>
                    <a:pt x="731" y="0"/>
                    <a:pt x="1591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2445" y="0"/>
                    <a:pt x="3145" y="238"/>
                    <a:pt x="3145" y="531"/>
                  </a:cubicBezTo>
                  <a:cubicBezTo>
                    <a:pt x="3145" y="2589"/>
                    <a:pt x="3145" y="2589"/>
                    <a:pt x="3145" y="2589"/>
                  </a:cubicBezTo>
                  <a:cubicBezTo>
                    <a:pt x="3024" y="2837"/>
                    <a:pt x="3024" y="2837"/>
                    <a:pt x="3024" y="2837"/>
                  </a:cubicBezTo>
                  <a:cubicBezTo>
                    <a:pt x="2384" y="3005"/>
                    <a:pt x="2384" y="3005"/>
                    <a:pt x="2384" y="3005"/>
                  </a:cubicBezTo>
                  <a:cubicBezTo>
                    <a:pt x="960" y="3133"/>
                    <a:pt x="960" y="3133"/>
                    <a:pt x="960" y="3133"/>
                  </a:cubicBezTo>
                  <a:cubicBezTo>
                    <a:pt x="0" y="2597"/>
                    <a:pt x="0" y="2597"/>
                    <a:pt x="0" y="2597"/>
                  </a:cubicBezTo>
                  <a:lnTo>
                    <a:pt x="34" y="531"/>
                  </a:lnTo>
                  <a:close/>
                </a:path>
              </a:pathLst>
            </a:custGeom>
            <a:solidFill>
              <a:srgbClr val="0071BC">
                <a:lumMod val="20000"/>
                <a:lumOff val="80000"/>
              </a:srgb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7141211" y="5402486"/>
              <a:ext cx="1146689" cy="914776"/>
            </a:xfrm>
            <a:custGeom>
              <a:avLst/>
              <a:gdLst>
                <a:gd name="T0" fmla="*/ 3356 w 3594"/>
                <a:gd name="T1" fmla="*/ 382 h 3535"/>
                <a:gd name="T2" fmla="*/ 1800 w 3594"/>
                <a:gd name="T3" fmla="*/ 0 h 3535"/>
                <a:gd name="T4" fmla="*/ 655 w 3594"/>
                <a:gd name="T5" fmla="*/ 165 h 3535"/>
                <a:gd name="T6" fmla="*/ 238 w 3594"/>
                <a:gd name="T7" fmla="*/ 382 h 3535"/>
                <a:gd name="T8" fmla="*/ 0 w 3594"/>
                <a:gd name="T9" fmla="*/ 833 h 3535"/>
                <a:gd name="T10" fmla="*/ 0 w 3594"/>
                <a:gd name="T11" fmla="*/ 2598 h 3535"/>
                <a:gd name="T12" fmla="*/ 214 w 3594"/>
                <a:gd name="T13" fmla="*/ 3069 h 3535"/>
                <a:gd name="T14" fmla="*/ 1800 w 3594"/>
                <a:gd name="T15" fmla="*/ 3535 h 3535"/>
                <a:gd name="T16" fmla="*/ 2282 w 3594"/>
                <a:gd name="T17" fmla="*/ 3505 h 3535"/>
                <a:gd name="T18" fmla="*/ 3373 w 3594"/>
                <a:gd name="T19" fmla="*/ 3077 h 3535"/>
                <a:gd name="T20" fmla="*/ 3379 w 3594"/>
                <a:gd name="T21" fmla="*/ 3077 h 3535"/>
                <a:gd name="T22" fmla="*/ 3594 w 3594"/>
                <a:gd name="T23" fmla="*/ 2606 h 3535"/>
                <a:gd name="T24" fmla="*/ 3594 w 3594"/>
                <a:gd name="T25" fmla="*/ 1655 h 3535"/>
                <a:gd name="T26" fmla="*/ 3594 w 3594"/>
                <a:gd name="T27" fmla="*/ 1655 h 3535"/>
                <a:gd name="T28" fmla="*/ 3594 w 3594"/>
                <a:gd name="T29" fmla="*/ 833 h 3535"/>
                <a:gd name="T30" fmla="*/ 3356 w 3594"/>
                <a:gd name="T31" fmla="*/ 382 h 3535"/>
                <a:gd name="T32" fmla="*/ 1800 w 3594"/>
                <a:gd name="T33" fmla="*/ 332 h 3535"/>
                <a:gd name="T34" fmla="*/ 3266 w 3594"/>
                <a:gd name="T35" fmla="*/ 833 h 3535"/>
                <a:gd name="T36" fmla="*/ 1800 w 3594"/>
                <a:gd name="T37" fmla="*/ 1337 h 3535"/>
                <a:gd name="T38" fmla="*/ 331 w 3594"/>
                <a:gd name="T39" fmla="*/ 833 h 3535"/>
                <a:gd name="T40" fmla="*/ 1800 w 3594"/>
                <a:gd name="T41" fmla="*/ 332 h 3535"/>
                <a:gd name="T42" fmla="*/ 331 w 3594"/>
                <a:gd name="T43" fmla="*/ 1436 h 3535"/>
                <a:gd name="T44" fmla="*/ 331 w 3594"/>
                <a:gd name="T45" fmla="*/ 1179 h 3535"/>
                <a:gd name="T46" fmla="*/ 331 w 3594"/>
                <a:gd name="T47" fmla="*/ 1179 h 3535"/>
                <a:gd name="T48" fmla="*/ 460 w 3594"/>
                <a:gd name="T49" fmla="*/ 1269 h 3535"/>
                <a:gd name="T50" fmla="*/ 1800 w 3594"/>
                <a:gd name="T51" fmla="*/ 1533 h 3535"/>
                <a:gd name="T52" fmla="*/ 2887 w 3594"/>
                <a:gd name="T53" fmla="*/ 1376 h 3535"/>
                <a:gd name="T54" fmla="*/ 3256 w 3594"/>
                <a:gd name="T55" fmla="*/ 1189 h 3535"/>
                <a:gd name="T56" fmla="*/ 3266 w 3594"/>
                <a:gd name="T57" fmla="*/ 1179 h 3535"/>
                <a:gd name="T58" fmla="*/ 3266 w 3594"/>
                <a:gd name="T59" fmla="*/ 1539 h 3535"/>
                <a:gd name="T60" fmla="*/ 3266 w 3594"/>
                <a:gd name="T61" fmla="*/ 1635 h 3535"/>
                <a:gd name="T62" fmla="*/ 3266 w 3594"/>
                <a:gd name="T63" fmla="*/ 2468 h 3535"/>
                <a:gd name="T64" fmla="*/ 3266 w 3594"/>
                <a:gd name="T65" fmla="*/ 2773 h 3535"/>
                <a:gd name="T66" fmla="*/ 3010 w 3594"/>
                <a:gd name="T67" fmla="*/ 3003 h 3535"/>
                <a:gd name="T68" fmla="*/ 2288 w 3594"/>
                <a:gd name="T69" fmla="*/ 3171 h 3535"/>
                <a:gd name="T70" fmla="*/ 1800 w 3594"/>
                <a:gd name="T71" fmla="*/ 3204 h 3535"/>
                <a:gd name="T72" fmla="*/ 1800 w 3594"/>
                <a:gd name="T73" fmla="*/ 3204 h 3535"/>
                <a:gd name="T74" fmla="*/ 331 w 3594"/>
                <a:gd name="T75" fmla="*/ 2598 h 3535"/>
                <a:gd name="T76" fmla="*/ 331 w 3594"/>
                <a:gd name="T77" fmla="*/ 2379 h 3535"/>
                <a:gd name="T78" fmla="*/ 331 w 3594"/>
                <a:gd name="T79" fmla="*/ 1436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94" h="3535">
                  <a:moveTo>
                    <a:pt x="3356" y="382"/>
                  </a:moveTo>
                  <a:cubicBezTo>
                    <a:pt x="3000" y="111"/>
                    <a:pt x="2455" y="10"/>
                    <a:pt x="1800" y="0"/>
                  </a:cubicBezTo>
                  <a:cubicBezTo>
                    <a:pt x="1361" y="0"/>
                    <a:pt x="964" y="60"/>
                    <a:pt x="655" y="165"/>
                  </a:cubicBezTo>
                  <a:cubicBezTo>
                    <a:pt x="496" y="221"/>
                    <a:pt x="359" y="284"/>
                    <a:pt x="238" y="382"/>
                  </a:cubicBezTo>
                  <a:cubicBezTo>
                    <a:pt x="121" y="471"/>
                    <a:pt x="0" y="626"/>
                    <a:pt x="0" y="833"/>
                  </a:cubicBezTo>
                  <a:cubicBezTo>
                    <a:pt x="0" y="2598"/>
                    <a:pt x="0" y="2598"/>
                    <a:pt x="0" y="2598"/>
                  </a:cubicBezTo>
                  <a:cubicBezTo>
                    <a:pt x="0" y="2795"/>
                    <a:pt x="97" y="2960"/>
                    <a:pt x="214" y="3069"/>
                  </a:cubicBezTo>
                  <a:cubicBezTo>
                    <a:pt x="567" y="3395"/>
                    <a:pt x="1133" y="3525"/>
                    <a:pt x="1800" y="3535"/>
                  </a:cubicBezTo>
                  <a:cubicBezTo>
                    <a:pt x="1962" y="3535"/>
                    <a:pt x="2131" y="3525"/>
                    <a:pt x="2282" y="3505"/>
                  </a:cubicBezTo>
                  <a:cubicBezTo>
                    <a:pt x="2282" y="3505"/>
                    <a:pt x="3096" y="3358"/>
                    <a:pt x="3373" y="3077"/>
                  </a:cubicBezTo>
                  <a:cubicBezTo>
                    <a:pt x="3379" y="3077"/>
                    <a:pt x="3379" y="3077"/>
                    <a:pt x="3379" y="3077"/>
                  </a:cubicBezTo>
                  <a:cubicBezTo>
                    <a:pt x="3496" y="2968"/>
                    <a:pt x="3594" y="2803"/>
                    <a:pt x="3594" y="2606"/>
                  </a:cubicBezTo>
                  <a:cubicBezTo>
                    <a:pt x="3594" y="2606"/>
                    <a:pt x="3594" y="2606"/>
                    <a:pt x="3594" y="1655"/>
                  </a:cubicBezTo>
                  <a:cubicBezTo>
                    <a:pt x="3594" y="1655"/>
                    <a:pt x="3594" y="1655"/>
                    <a:pt x="3594" y="1655"/>
                  </a:cubicBezTo>
                  <a:cubicBezTo>
                    <a:pt x="3594" y="833"/>
                    <a:pt x="3594" y="833"/>
                    <a:pt x="3594" y="833"/>
                  </a:cubicBezTo>
                  <a:cubicBezTo>
                    <a:pt x="3594" y="626"/>
                    <a:pt x="3473" y="471"/>
                    <a:pt x="3356" y="382"/>
                  </a:cubicBezTo>
                  <a:close/>
                  <a:moveTo>
                    <a:pt x="1800" y="332"/>
                  </a:moveTo>
                  <a:cubicBezTo>
                    <a:pt x="2605" y="332"/>
                    <a:pt x="3266" y="557"/>
                    <a:pt x="3266" y="833"/>
                  </a:cubicBezTo>
                  <a:cubicBezTo>
                    <a:pt x="3266" y="1112"/>
                    <a:pt x="2605" y="1337"/>
                    <a:pt x="1800" y="1337"/>
                  </a:cubicBezTo>
                  <a:cubicBezTo>
                    <a:pt x="988" y="1337"/>
                    <a:pt x="331" y="1112"/>
                    <a:pt x="331" y="833"/>
                  </a:cubicBezTo>
                  <a:cubicBezTo>
                    <a:pt x="331" y="557"/>
                    <a:pt x="988" y="332"/>
                    <a:pt x="1800" y="332"/>
                  </a:cubicBezTo>
                  <a:close/>
                  <a:moveTo>
                    <a:pt x="331" y="1436"/>
                  </a:moveTo>
                  <a:cubicBezTo>
                    <a:pt x="331" y="1179"/>
                    <a:pt x="331" y="1179"/>
                    <a:pt x="331" y="1179"/>
                  </a:cubicBezTo>
                  <a:cubicBezTo>
                    <a:pt x="331" y="1179"/>
                    <a:pt x="331" y="1179"/>
                    <a:pt x="331" y="1179"/>
                  </a:cubicBezTo>
                  <a:cubicBezTo>
                    <a:pt x="369" y="1211"/>
                    <a:pt x="413" y="1243"/>
                    <a:pt x="460" y="1269"/>
                  </a:cubicBezTo>
                  <a:cubicBezTo>
                    <a:pt x="764" y="1436"/>
                    <a:pt x="1242" y="1530"/>
                    <a:pt x="1800" y="1533"/>
                  </a:cubicBezTo>
                  <a:cubicBezTo>
                    <a:pt x="2216" y="1533"/>
                    <a:pt x="2599" y="1476"/>
                    <a:pt x="2887" y="1376"/>
                  </a:cubicBezTo>
                  <a:cubicBezTo>
                    <a:pt x="3034" y="1327"/>
                    <a:pt x="3155" y="1265"/>
                    <a:pt x="3256" y="1189"/>
                  </a:cubicBezTo>
                  <a:cubicBezTo>
                    <a:pt x="3258" y="1185"/>
                    <a:pt x="3262" y="1181"/>
                    <a:pt x="3266" y="1179"/>
                  </a:cubicBezTo>
                  <a:cubicBezTo>
                    <a:pt x="3266" y="1539"/>
                    <a:pt x="3266" y="1539"/>
                    <a:pt x="3266" y="1539"/>
                  </a:cubicBezTo>
                  <a:cubicBezTo>
                    <a:pt x="3266" y="1635"/>
                    <a:pt x="3266" y="1635"/>
                    <a:pt x="3266" y="1635"/>
                  </a:cubicBezTo>
                  <a:cubicBezTo>
                    <a:pt x="3266" y="2468"/>
                    <a:pt x="3266" y="2468"/>
                    <a:pt x="3266" y="2468"/>
                  </a:cubicBezTo>
                  <a:cubicBezTo>
                    <a:pt x="3266" y="2773"/>
                    <a:pt x="3266" y="2773"/>
                    <a:pt x="3266" y="2773"/>
                  </a:cubicBezTo>
                  <a:cubicBezTo>
                    <a:pt x="3246" y="2822"/>
                    <a:pt x="3189" y="2908"/>
                    <a:pt x="3010" y="3003"/>
                  </a:cubicBezTo>
                  <a:cubicBezTo>
                    <a:pt x="2562" y="3141"/>
                    <a:pt x="2288" y="3171"/>
                    <a:pt x="2288" y="3171"/>
                  </a:cubicBezTo>
                  <a:cubicBezTo>
                    <a:pt x="2137" y="3194"/>
                    <a:pt x="1966" y="3204"/>
                    <a:pt x="1800" y="3204"/>
                  </a:cubicBezTo>
                  <a:cubicBezTo>
                    <a:pt x="1800" y="3204"/>
                    <a:pt x="1800" y="3204"/>
                    <a:pt x="1800" y="3204"/>
                  </a:cubicBezTo>
                  <a:cubicBezTo>
                    <a:pt x="988" y="3204"/>
                    <a:pt x="331" y="2932"/>
                    <a:pt x="331" y="2598"/>
                  </a:cubicBezTo>
                  <a:cubicBezTo>
                    <a:pt x="331" y="2510"/>
                    <a:pt x="331" y="2439"/>
                    <a:pt x="331" y="2379"/>
                  </a:cubicBezTo>
                  <a:lnTo>
                    <a:pt x="331" y="1436"/>
                  </a:lnTo>
                  <a:close/>
                </a:path>
              </a:pathLst>
            </a:custGeom>
            <a:solidFill>
              <a:srgbClr val="00AE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2880" tIns="396000" b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SQL </a:t>
              </a:r>
              <a:r>
                <a:rPr lang="en-US" sz="1100" b="1" kern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Server Database</a:t>
              </a:r>
              <a:endParaRPr lang="en-US" sz="110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15" name="קבוצה 289816"/>
          <p:cNvGrpSpPr>
            <a:grpSpLocks/>
          </p:cNvGrpSpPr>
          <p:nvPr/>
        </p:nvGrpSpPr>
        <p:grpSpPr bwMode="auto">
          <a:xfrm>
            <a:off x="2883767" y="3695768"/>
            <a:ext cx="522288" cy="585787"/>
            <a:chOff x="1531916" y="4820068"/>
            <a:chExt cx="522903" cy="585718"/>
          </a:xfrm>
        </p:grpSpPr>
        <p:sp>
          <p:nvSpPr>
            <p:cNvPr id="16" name="מלבן מעוגל 289805"/>
            <p:cNvSpPr>
              <a:spLocks noChangeArrowheads="1"/>
            </p:cNvSpPr>
            <p:nvPr/>
          </p:nvSpPr>
          <p:spPr bwMode="auto">
            <a:xfrm>
              <a:off x="1531916" y="4820068"/>
              <a:ext cx="522903" cy="585718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14:hiddenLine>
              </a:ext>
            </a:extLst>
          </p:spPr>
          <p:txBody>
            <a:bodyPr/>
            <a:lstStyle/>
            <a:p>
              <a:endParaRPr lang="he-IL"/>
            </a:p>
          </p:txBody>
        </p:sp>
        <p:sp>
          <p:nvSpPr>
            <p:cNvPr id="17" name="Freeform 164"/>
            <p:cNvSpPr>
              <a:spLocks noEditPoints="1"/>
            </p:cNvSpPr>
            <p:nvPr/>
          </p:nvSpPr>
          <p:spPr bwMode="black">
            <a:xfrm>
              <a:off x="1620921" y="4870862"/>
              <a:ext cx="356019" cy="492067"/>
            </a:xfrm>
            <a:custGeom>
              <a:avLst/>
              <a:gdLst>
                <a:gd name="T0" fmla="*/ 221 w 288"/>
                <a:gd name="T1" fmla="*/ 373 h 399"/>
                <a:gd name="T2" fmla="*/ 194 w 288"/>
                <a:gd name="T3" fmla="*/ 350 h 399"/>
                <a:gd name="T4" fmla="*/ 137 w 288"/>
                <a:gd name="T5" fmla="*/ 150 h 399"/>
                <a:gd name="T6" fmla="*/ 165 w 288"/>
                <a:gd name="T7" fmla="*/ 398 h 399"/>
                <a:gd name="T8" fmla="*/ 94 w 288"/>
                <a:gd name="T9" fmla="*/ 325 h 399"/>
                <a:gd name="T10" fmla="*/ 192 w 288"/>
                <a:gd name="T11" fmla="*/ 269 h 399"/>
                <a:gd name="T12" fmla="*/ 223 w 288"/>
                <a:gd name="T13" fmla="*/ 371 h 399"/>
                <a:gd name="T14" fmla="*/ 135 w 288"/>
                <a:gd name="T15" fmla="*/ 170 h 399"/>
                <a:gd name="T16" fmla="*/ 179 w 288"/>
                <a:gd name="T17" fmla="*/ 395 h 399"/>
                <a:gd name="T18" fmla="*/ 135 w 288"/>
                <a:gd name="T19" fmla="*/ 324 h 399"/>
                <a:gd name="T20" fmla="*/ 154 w 288"/>
                <a:gd name="T21" fmla="*/ 308 h 399"/>
                <a:gd name="T22" fmla="*/ 208 w 288"/>
                <a:gd name="T23" fmla="*/ 382 h 399"/>
                <a:gd name="T24" fmla="*/ 85 w 288"/>
                <a:gd name="T25" fmla="*/ 380 h 399"/>
                <a:gd name="T26" fmla="*/ 143 w 288"/>
                <a:gd name="T27" fmla="*/ 82 h 399"/>
                <a:gd name="T28" fmla="*/ 228 w 288"/>
                <a:gd name="T29" fmla="*/ 288 h 399"/>
                <a:gd name="T30" fmla="*/ 253 w 288"/>
                <a:gd name="T31" fmla="*/ 340 h 399"/>
                <a:gd name="T32" fmla="*/ 247 w 288"/>
                <a:gd name="T33" fmla="*/ 233 h 399"/>
                <a:gd name="T34" fmla="*/ 20 w 288"/>
                <a:gd name="T35" fmla="*/ 263 h 399"/>
                <a:gd name="T36" fmla="*/ 85 w 288"/>
                <a:gd name="T37" fmla="*/ 380 h 399"/>
                <a:gd name="T38" fmla="*/ 219 w 288"/>
                <a:gd name="T39" fmla="*/ 242 h 399"/>
                <a:gd name="T40" fmla="*/ 56 w 288"/>
                <a:gd name="T41" fmla="*/ 305 h 399"/>
                <a:gd name="T42" fmla="*/ 129 w 288"/>
                <a:gd name="T43" fmla="*/ 397 h 399"/>
                <a:gd name="T44" fmla="*/ 137 w 288"/>
                <a:gd name="T45" fmla="*/ 115 h 399"/>
                <a:gd name="T46" fmla="*/ 210 w 288"/>
                <a:gd name="T47" fmla="*/ 334 h 399"/>
                <a:gd name="T48" fmla="*/ 239 w 288"/>
                <a:gd name="T49" fmla="*/ 357 h 399"/>
                <a:gd name="T50" fmla="*/ 0 w 288"/>
                <a:gd name="T51" fmla="*/ 202 h 399"/>
                <a:gd name="T52" fmla="*/ 144 w 288"/>
                <a:gd name="T53" fmla="*/ 51 h 399"/>
                <a:gd name="T54" fmla="*/ 252 w 288"/>
                <a:gd name="T55" fmla="*/ 298 h 399"/>
                <a:gd name="T56" fmla="*/ 266 w 288"/>
                <a:gd name="T57" fmla="*/ 320 h 399"/>
                <a:gd name="T58" fmla="*/ 277 w 288"/>
                <a:gd name="T59" fmla="*/ 221 h 399"/>
                <a:gd name="T60" fmla="*/ 3 w 288"/>
                <a:gd name="T61" fmla="*/ 162 h 399"/>
                <a:gd name="T62" fmla="*/ 0 w 288"/>
                <a:gd name="T63" fmla="*/ 202 h 399"/>
                <a:gd name="T64" fmla="*/ 145 w 288"/>
                <a:gd name="T65" fmla="*/ 0 h 399"/>
                <a:gd name="T66" fmla="*/ 144 w 288"/>
                <a:gd name="T67" fmla="*/ 18 h 399"/>
                <a:gd name="T68" fmla="*/ 142 w 288"/>
                <a:gd name="T69" fmla="*/ 308 h 399"/>
                <a:gd name="T70" fmla="*/ 137 w 288"/>
                <a:gd name="T71" fmla="*/ 201 h 399"/>
                <a:gd name="T72" fmla="*/ 130 w 288"/>
                <a:gd name="T73" fmla="*/ 208 h 399"/>
                <a:gd name="T74" fmla="*/ 142 w 288"/>
                <a:gd name="T75" fmla="*/ 30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8" h="399">
                  <a:moveTo>
                    <a:pt x="223" y="371"/>
                  </a:moveTo>
                  <a:cubicBezTo>
                    <a:pt x="221" y="373"/>
                    <a:pt x="221" y="373"/>
                    <a:pt x="221" y="373"/>
                  </a:cubicBezTo>
                  <a:cubicBezTo>
                    <a:pt x="220" y="374"/>
                    <a:pt x="218" y="375"/>
                    <a:pt x="217" y="376"/>
                  </a:cubicBezTo>
                  <a:cubicBezTo>
                    <a:pt x="215" y="374"/>
                    <a:pt x="205" y="366"/>
                    <a:pt x="194" y="350"/>
                  </a:cubicBezTo>
                  <a:cubicBezTo>
                    <a:pt x="181" y="332"/>
                    <a:pt x="177" y="299"/>
                    <a:pt x="180" y="268"/>
                  </a:cubicBezTo>
                  <a:cubicBezTo>
                    <a:pt x="186" y="212"/>
                    <a:pt x="180" y="148"/>
                    <a:pt x="137" y="150"/>
                  </a:cubicBezTo>
                  <a:cubicBezTo>
                    <a:pt x="90" y="152"/>
                    <a:pt x="69" y="245"/>
                    <a:pt x="106" y="319"/>
                  </a:cubicBezTo>
                  <a:cubicBezTo>
                    <a:pt x="125" y="357"/>
                    <a:pt x="150" y="384"/>
                    <a:pt x="165" y="398"/>
                  </a:cubicBezTo>
                  <a:cubicBezTo>
                    <a:pt x="161" y="398"/>
                    <a:pt x="157" y="399"/>
                    <a:pt x="153" y="399"/>
                  </a:cubicBezTo>
                  <a:cubicBezTo>
                    <a:pt x="137" y="384"/>
                    <a:pt x="115" y="364"/>
                    <a:pt x="94" y="325"/>
                  </a:cubicBezTo>
                  <a:cubicBezTo>
                    <a:pt x="46" y="236"/>
                    <a:pt x="82" y="134"/>
                    <a:pt x="137" y="134"/>
                  </a:cubicBezTo>
                  <a:cubicBezTo>
                    <a:pt x="195" y="134"/>
                    <a:pt x="201" y="201"/>
                    <a:pt x="192" y="269"/>
                  </a:cubicBezTo>
                  <a:cubicBezTo>
                    <a:pt x="188" y="301"/>
                    <a:pt x="191" y="329"/>
                    <a:pt x="202" y="346"/>
                  </a:cubicBezTo>
                  <a:cubicBezTo>
                    <a:pt x="213" y="363"/>
                    <a:pt x="224" y="370"/>
                    <a:pt x="223" y="371"/>
                  </a:cubicBezTo>
                  <a:close/>
                  <a:moveTo>
                    <a:pt x="166" y="306"/>
                  </a:moveTo>
                  <a:cubicBezTo>
                    <a:pt x="163" y="275"/>
                    <a:pt x="185" y="172"/>
                    <a:pt x="135" y="170"/>
                  </a:cubicBezTo>
                  <a:cubicBezTo>
                    <a:pt x="104" y="169"/>
                    <a:pt x="77" y="248"/>
                    <a:pt x="125" y="329"/>
                  </a:cubicBezTo>
                  <a:cubicBezTo>
                    <a:pt x="143" y="361"/>
                    <a:pt x="166" y="383"/>
                    <a:pt x="179" y="395"/>
                  </a:cubicBezTo>
                  <a:cubicBezTo>
                    <a:pt x="182" y="394"/>
                    <a:pt x="185" y="393"/>
                    <a:pt x="188" y="392"/>
                  </a:cubicBezTo>
                  <a:cubicBezTo>
                    <a:pt x="177" y="381"/>
                    <a:pt x="153" y="358"/>
                    <a:pt x="135" y="324"/>
                  </a:cubicBezTo>
                  <a:cubicBezTo>
                    <a:pt x="101" y="266"/>
                    <a:pt x="110" y="186"/>
                    <a:pt x="135" y="186"/>
                  </a:cubicBezTo>
                  <a:cubicBezTo>
                    <a:pt x="168" y="186"/>
                    <a:pt x="149" y="268"/>
                    <a:pt x="154" y="308"/>
                  </a:cubicBezTo>
                  <a:cubicBezTo>
                    <a:pt x="160" y="352"/>
                    <a:pt x="187" y="377"/>
                    <a:pt x="200" y="386"/>
                  </a:cubicBezTo>
                  <a:cubicBezTo>
                    <a:pt x="203" y="385"/>
                    <a:pt x="205" y="384"/>
                    <a:pt x="208" y="382"/>
                  </a:cubicBezTo>
                  <a:cubicBezTo>
                    <a:pt x="199" y="375"/>
                    <a:pt x="170" y="350"/>
                    <a:pt x="166" y="306"/>
                  </a:cubicBezTo>
                  <a:close/>
                  <a:moveTo>
                    <a:pt x="85" y="380"/>
                  </a:moveTo>
                  <a:cubicBezTo>
                    <a:pt x="65" y="357"/>
                    <a:pt x="36" y="313"/>
                    <a:pt x="31" y="261"/>
                  </a:cubicBezTo>
                  <a:cubicBezTo>
                    <a:pt x="25" y="164"/>
                    <a:pt x="66" y="82"/>
                    <a:pt x="143" y="82"/>
                  </a:cubicBezTo>
                  <a:cubicBezTo>
                    <a:pt x="213" y="82"/>
                    <a:pt x="241" y="157"/>
                    <a:pt x="235" y="231"/>
                  </a:cubicBezTo>
                  <a:cubicBezTo>
                    <a:pt x="234" y="251"/>
                    <a:pt x="228" y="269"/>
                    <a:pt x="228" y="288"/>
                  </a:cubicBezTo>
                  <a:cubicBezTo>
                    <a:pt x="227" y="320"/>
                    <a:pt x="236" y="334"/>
                    <a:pt x="248" y="347"/>
                  </a:cubicBezTo>
                  <a:cubicBezTo>
                    <a:pt x="250" y="345"/>
                    <a:pt x="251" y="343"/>
                    <a:pt x="253" y="340"/>
                  </a:cubicBezTo>
                  <a:cubicBezTo>
                    <a:pt x="246" y="330"/>
                    <a:pt x="237" y="313"/>
                    <a:pt x="238" y="289"/>
                  </a:cubicBezTo>
                  <a:cubicBezTo>
                    <a:pt x="239" y="273"/>
                    <a:pt x="243" y="254"/>
                    <a:pt x="247" y="233"/>
                  </a:cubicBezTo>
                  <a:cubicBezTo>
                    <a:pt x="257" y="169"/>
                    <a:pt x="233" y="66"/>
                    <a:pt x="143" y="65"/>
                  </a:cubicBezTo>
                  <a:cubicBezTo>
                    <a:pt x="77" y="64"/>
                    <a:pt x="7" y="129"/>
                    <a:pt x="20" y="263"/>
                  </a:cubicBezTo>
                  <a:cubicBezTo>
                    <a:pt x="24" y="299"/>
                    <a:pt x="39" y="330"/>
                    <a:pt x="54" y="354"/>
                  </a:cubicBezTo>
                  <a:cubicBezTo>
                    <a:pt x="64" y="365"/>
                    <a:pt x="74" y="373"/>
                    <a:pt x="85" y="380"/>
                  </a:cubicBezTo>
                  <a:close/>
                  <a:moveTo>
                    <a:pt x="219" y="331"/>
                  </a:moveTo>
                  <a:cubicBezTo>
                    <a:pt x="211" y="309"/>
                    <a:pt x="212" y="277"/>
                    <a:pt x="219" y="242"/>
                  </a:cubicBezTo>
                  <a:cubicBezTo>
                    <a:pt x="228" y="183"/>
                    <a:pt x="216" y="99"/>
                    <a:pt x="137" y="99"/>
                  </a:cubicBezTo>
                  <a:cubicBezTo>
                    <a:pt x="73" y="99"/>
                    <a:pt x="16" y="198"/>
                    <a:pt x="56" y="305"/>
                  </a:cubicBezTo>
                  <a:cubicBezTo>
                    <a:pt x="72" y="346"/>
                    <a:pt x="96" y="376"/>
                    <a:pt x="113" y="393"/>
                  </a:cubicBezTo>
                  <a:cubicBezTo>
                    <a:pt x="118" y="395"/>
                    <a:pt x="123" y="396"/>
                    <a:pt x="129" y="397"/>
                  </a:cubicBezTo>
                  <a:cubicBezTo>
                    <a:pt x="113" y="382"/>
                    <a:pt x="84" y="348"/>
                    <a:pt x="67" y="300"/>
                  </a:cubicBezTo>
                  <a:cubicBezTo>
                    <a:pt x="37" y="213"/>
                    <a:pt x="79" y="116"/>
                    <a:pt x="137" y="115"/>
                  </a:cubicBezTo>
                  <a:cubicBezTo>
                    <a:pt x="189" y="114"/>
                    <a:pt x="216" y="168"/>
                    <a:pt x="208" y="239"/>
                  </a:cubicBezTo>
                  <a:cubicBezTo>
                    <a:pt x="201" y="274"/>
                    <a:pt x="200" y="310"/>
                    <a:pt x="210" y="334"/>
                  </a:cubicBezTo>
                  <a:cubicBezTo>
                    <a:pt x="217" y="351"/>
                    <a:pt x="228" y="359"/>
                    <a:pt x="233" y="363"/>
                  </a:cubicBezTo>
                  <a:cubicBezTo>
                    <a:pt x="235" y="361"/>
                    <a:pt x="237" y="359"/>
                    <a:pt x="239" y="357"/>
                  </a:cubicBezTo>
                  <a:cubicBezTo>
                    <a:pt x="235" y="354"/>
                    <a:pt x="225" y="347"/>
                    <a:pt x="219" y="331"/>
                  </a:cubicBezTo>
                  <a:close/>
                  <a:moveTo>
                    <a:pt x="0" y="202"/>
                  </a:moveTo>
                  <a:cubicBezTo>
                    <a:pt x="0" y="217"/>
                    <a:pt x="1" y="231"/>
                    <a:pt x="4" y="245"/>
                  </a:cubicBezTo>
                  <a:cubicBezTo>
                    <a:pt x="6" y="146"/>
                    <a:pt x="40" y="49"/>
                    <a:pt x="144" y="51"/>
                  </a:cubicBezTo>
                  <a:cubicBezTo>
                    <a:pt x="230" y="51"/>
                    <a:pt x="271" y="143"/>
                    <a:pt x="262" y="219"/>
                  </a:cubicBezTo>
                  <a:cubicBezTo>
                    <a:pt x="259" y="248"/>
                    <a:pt x="252" y="276"/>
                    <a:pt x="252" y="298"/>
                  </a:cubicBezTo>
                  <a:cubicBezTo>
                    <a:pt x="252" y="315"/>
                    <a:pt x="258" y="326"/>
                    <a:pt x="260" y="330"/>
                  </a:cubicBezTo>
                  <a:cubicBezTo>
                    <a:pt x="262" y="327"/>
                    <a:pt x="264" y="323"/>
                    <a:pt x="266" y="320"/>
                  </a:cubicBezTo>
                  <a:cubicBezTo>
                    <a:pt x="263" y="314"/>
                    <a:pt x="261" y="308"/>
                    <a:pt x="262" y="298"/>
                  </a:cubicBezTo>
                  <a:cubicBezTo>
                    <a:pt x="262" y="279"/>
                    <a:pt x="272" y="252"/>
                    <a:pt x="277" y="221"/>
                  </a:cubicBezTo>
                  <a:cubicBezTo>
                    <a:pt x="288" y="144"/>
                    <a:pt x="247" y="31"/>
                    <a:pt x="144" y="31"/>
                  </a:cubicBezTo>
                  <a:cubicBezTo>
                    <a:pt x="62" y="32"/>
                    <a:pt x="18" y="92"/>
                    <a:pt x="3" y="162"/>
                  </a:cubicBezTo>
                  <a:cubicBezTo>
                    <a:pt x="1" y="175"/>
                    <a:pt x="0" y="188"/>
                    <a:pt x="0" y="201"/>
                  </a:cubicBezTo>
                  <a:cubicBezTo>
                    <a:pt x="0" y="201"/>
                    <a:pt x="0" y="202"/>
                    <a:pt x="0" y="202"/>
                  </a:cubicBezTo>
                  <a:close/>
                  <a:moveTo>
                    <a:pt x="262" y="75"/>
                  </a:moveTo>
                  <a:cubicBezTo>
                    <a:pt x="244" y="44"/>
                    <a:pt x="206" y="0"/>
                    <a:pt x="145" y="0"/>
                  </a:cubicBezTo>
                  <a:cubicBezTo>
                    <a:pt x="108" y="0"/>
                    <a:pt x="80" y="18"/>
                    <a:pt x="58" y="40"/>
                  </a:cubicBezTo>
                  <a:cubicBezTo>
                    <a:pt x="60" y="39"/>
                    <a:pt x="91" y="18"/>
                    <a:pt x="144" y="18"/>
                  </a:cubicBezTo>
                  <a:cubicBezTo>
                    <a:pt x="220" y="18"/>
                    <a:pt x="262" y="75"/>
                    <a:pt x="262" y="75"/>
                  </a:cubicBezTo>
                  <a:close/>
                  <a:moveTo>
                    <a:pt x="142" y="308"/>
                  </a:moveTo>
                  <a:cubicBezTo>
                    <a:pt x="140" y="294"/>
                    <a:pt x="141" y="277"/>
                    <a:pt x="142" y="260"/>
                  </a:cubicBezTo>
                  <a:cubicBezTo>
                    <a:pt x="143" y="238"/>
                    <a:pt x="144" y="209"/>
                    <a:pt x="137" y="201"/>
                  </a:cubicBezTo>
                  <a:cubicBezTo>
                    <a:pt x="137" y="201"/>
                    <a:pt x="137" y="201"/>
                    <a:pt x="135" y="201"/>
                  </a:cubicBezTo>
                  <a:cubicBezTo>
                    <a:pt x="135" y="201"/>
                    <a:pt x="132" y="202"/>
                    <a:pt x="130" y="208"/>
                  </a:cubicBezTo>
                  <a:cubicBezTo>
                    <a:pt x="122" y="227"/>
                    <a:pt x="122" y="271"/>
                    <a:pt x="141" y="308"/>
                  </a:cubicBezTo>
                  <a:cubicBezTo>
                    <a:pt x="141" y="309"/>
                    <a:pt x="142" y="309"/>
                    <a:pt x="142" y="3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82305" tIns="41153" rIns="82305" bIns="41153"/>
            <a:lstStyle/>
            <a:p>
              <a:pPr>
                <a:defRPr/>
              </a:pPr>
              <a:endParaRPr lang="en-US">
                <a:latin typeface="+mj-lt"/>
                <a:cs typeface="+mn-cs"/>
              </a:endParaRPr>
            </a:p>
          </p:txBody>
        </p:sp>
      </p:grp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>
            <a:fillRect/>
          </a:stretch>
        </p:blipFill>
        <p:spPr bwMode="auto">
          <a:xfrm>
            <a:off x="4072309" y="2841566"/>
            <a:ext cx="1584176" cy="1451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3" descr="D:\Users\Efrat\Downloads\2012-August-Redmond\T04-Azure\images\link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6133" y="3696782"/>
            <a:ext cx="442119" cy="442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Arrow Connector 56"/>
          <p:cNvCxnSpPr/>
          <p:nvPr>
            <p:custDataLst>
              <p:tags r:id="rId1"/>
            </p:custDataLst>
          </p:nvPr>
        </p:nvCxnSpPr>
        <p:spPr>
          <a:xfrm flipH="1">
            <a:off x="2085432" y="3548336"/>
            <a:ext cx="2139537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1" name="Straight Arrow Connector 56"/>
          <p:cNvCxnSpPr/>
          <p:nvPr>
            <p:custDataLst>
              <p:tags r:id="rId2"/>
            </p:custDataLst>
          </p:nvPr>
        </p:nvCxnSpPr>
        <p:spPr>
          <a:xfrm flipH="1" flipV="1">
            <a:off x="5505524" y="3548336"/>
            <a:ext cx="1303089" cy="588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6" name="Group 72"/>
          <p:cNvGrpSpPr/>
          <p:nvPr/>
        </p:nvGrpSpPr>
        <p:grpSpPr>
          <a:xfrm>
            <a:off x="878042" y="3299368"/>
            <a:ext cx="1207390" cy="794827"/>
            <a:chOff x="13073063" y="587375"/>
            <a:chExt cx="19038888" cy="1253331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7" name="Freeform 12"/>
            <p:cNvSpPr>
              <a:spLocks/>
            </p:cNvSpPr>
            <p:nvPr/>
          </p:nvSpPr>
          <p:spPr bwMode="auto">
            <a:xfrm>
              <a:off x="13073063" y="5135563"/>
              <a:ext cx="3543300" cy="5521325"/>
            </a:xfrm>
            <a:custGeom>
              <a:avLst/>
              <a:gdLst>
                <a:gd name="T0" fmla="*/ 945 w 945"/>
                <a:gd name="T1" fmla="*/ 0 h 1472"/>
                <a:gd name="T2" fmla="*/ 945 w 945"/>
                <a:gd name="T3" fmla="*/ 0 h 1472"/>
                <a:gd name="T4" fmla="*/ 243 w 945"/>
                <a:gd name="T5" fmla="*/ 709 h 1472"/>
                <a:gd name="T6" fmla="*/ 486 w 945"/>
                <a:gd name="T7" fmla="*/ 1445 h 1472"/>
                <a:gd name="T8" fmla="*/ 486 w 945"/>
                <a:gd name="T9" fmla="*/ 927 h 1472"/>
                <a:gd name="T10" fmla="*/ 945 w 945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5" h="1472">
                  <a:moveTo>
                    <a:pt x="945" y="0"/>
                  </a:moveTo>
                  <a:cubicBezTo>
                    <a:pt x="945" y="0"/>
                    <a:pt x="945" y="0"/>
                    <a:pt x="945" y="0"/>
                  </a:cubicBezTo>
                  <a:cubicBezTo>
                    <a:pt x="783" y="55"/>
                    <a:pt x="459" y="191"/>
                    <a:pt x="243" y="709"/>
                  </a:cubicBezTo>
                  <a:cubicBezTo>
                    <a:pt x="0" y="1200"/>
                    <a:pt x="270" y="1472"/>
                    <a:pt x="486" y="1445"/>
                  </a:cubicBezTo>
                  <a:cubicBezTo>
                    <a:pt x="486" y="927"/>
                    <a:pt x="486" y="927"/>
                    <a:pt x="486" y="927"/>
                  </a:cubicBezTo>
                  <a:cubicBezTo>
                    <a:pt x="486" y="545"/>
                    <a:pt x="675" y="191"/>
                    <a:pt x="945" y="0"/>
                  </a:cubicBezTo>
                  <a:close/>
                </a:path>
              </a:pathLst>
            </a:custGeom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21409025" y="5135563"/>
              <a:ext cx="3584575" cy="5521325"/>
            </a:xfrm>
            <a:custGeom>
              <a:avLst/>
              <a:gdLst>
                <a:gd name="T0" fmla="*/ 0 w 956"/>
                <a:gd name="T1" fmla="*/ 0 h 1472"/>
                <a:gd name="T2" fmla="*/ 0 w 956"/>
                <a:gd name="T3" fmla="*/ 0 h 1472"/>
                <a:gd name="T4" fmla="*/ 711 w 956"/>
                <a:gd name="T5" fmla="*/ 709 h 1472"/>
                <a:gd name="T6" fmla="*/ 465 w 956"/>
                <a:gd name="T7" fmla="*/ 1445 h 1472"/>
                <a:gd name="T8" fmla="*/ 465 w 956"/>
                <a:gd name="T9" fmla="*/ 927 h 1472"/>
                <a:gd name="T10" fmla="*/ 0 w 956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6" h="147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4" y="55"/>
                    <a:pt x="492" y="191"/>
                    <a:pt x="711" y="709"/>
                  </a:cubicBezTo>
                  <a:cubicBezTo>
                    <a:pt x="956" y="1200"/>
                    <a:pt x="683" y="1472"/>
                    <a:pt x="465" y="1445"/>
                  </a:cubicBezTo>
                  <a:cubicBezTo>
                    <a:pt x="465" y="927"/>
                    <a:pt x="465" y="927"/>
                    <a:pt x="465" y="927"/>
                  </a:cubicBezTo>
                  <a:cubicBezTo>
                    <a:pt x="465" y="545"/>
                    <a:pt x="274" y="191"/>
                    <a:pt x="0" y="0"/>
                  </a:cubicBezTo>
                  <a:close/>
                </a:path>
              </a:pathLst>
            </a:custGeom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9" name="Freeform 14"/>
            <p:cNvSpPr>
              <a:spLocks/>
            </p:cNvSpPr>
            <p:nvPr/>
          </p:nvSpPr>
          <p:spPr bwMode="auto">
            <a:xfrm>
              <a:off x="15495588" y="5421313"/>
              <a:ext cx="7038975" cy="7699375"/>
            </a:xfrm>
            <a:custGeom>
              <a:avLst/>
              <a:gdLst>
                <a:gd name="T0" fmla="*/ 1877 w 1877"/>
                <a:gd name="T1" fmla="*/ 794 h 2053"/>
                <a:gd name="T2" fmla="*/ 1577 w 1877"/>
                <a:gd name="T3" fmla="*/ 0 h 2053"/>
                <a:gd name="T4" fmla="*/ 952 w 1877"/>
                <a:gd name="T5" fmla="*/ 274 h 2053"/>
                <a:gd name="T6" fmla="*/ 353 w 1877"/>
                <a:gd name="T7" fmla="*/ 0 h 2053"/>
                <a:gd name="T8" fmla="*/ 0 w 1877"/>
                <a:gd name="T9" fmla="*/ 794 h 2053"/>
                <a:gd name="T10" fmla="*/ 0 w 1877"/>
                <a:gd name="T11" fmla="*/ 1615 h 2053"/>
                <a:gd name="T12" fmla="*/ 380 w 1877"/>
                <a:gd name="T13" fmla="*/ 2053 h 2053"/>
                <a:gd name="T14" fmla="*/ 1550 w 1877"/>
                <a:gd name="T15" fmla="*/ 2053 h 2053"/>
                <a:gd name="T16" fmla="*/ 1550 w 1877"/>
                <a:gd name="T17" fmla="*/ 2053 h 2053"/>
                <a:gd name="T18" fmla="*/ 1877 w 1877"/>
                <a:gd name="T19" fmla="*/ 1013 h 2053"/>
                <a:gd name="T20" fmla="*/ 1877 w 1877"/>
                <a:gd name="T21" fmla="*/ 794 h 2053"/>
                <a:gd name="T22" fmla="*/ 1877 w 1877"/>
                <a:gd name="T23" fmla="*/ 794 h 2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77" h="2053">
                  <a:moveTo>
                    <a:pt x="1877" y="794"/>
                  </a:moveTo>
                  <a:cubicBezTo>
                    <a:pt x="1877" y="493"/>
                    <a:pt x="1768" y="192"/>
                    <a:pt x="1577" y="0"/>
                  </a:cubicBezTo>
                  <a:cubicBezTo>
                    <a:pt x="1414" y="165"/>
                    <a:pt x="1196" y="274"/>
                    <a:pt x="952" y="274"/>
                  </a:cubicBezTo>
                  <a:cubicBezTo>
                    <a:pt x="707" y="274"/>
                    <a:pt x="489" y="165"/>
                    <a:pt x="353" y="0"/>
                  </a:cubicBezTo>
                  <a:cubicBezTo>
                    <a:pt x="136" y="192"/>
                    <a:pt x="0" y="493"/>
                    <a:pt x="0" y="794"/>
                  </a:cubicBezTo>
                  <a:cubicBezTo>
                    <a:pt x="0" y="1615"/>
                    <a:pt x="0" y="1615"/>
                    <a:pt x="0" y="1615"/>
                  </a:cubicBezTo>
                  <a:cubicBezTo>
                    <a:pt x="0" y="1862"/>
                    <a:pt x="190" y="2053"/>
                    <a:pt x="38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740" y="2053"/>
                    <a:pt x="1877" y="1944"/>
                    <a:pt x="1877" y="1013"/>
                  </a:cubicBezTo>
                  <a:cubicBezTo>
                    <a:pt x="1877" y="794"/>
                    <a:pt x="1877" y="794"/>
                    <a:pt x="1877" y="794"/>
                  </a:cubicBezTo>
                  <a:cubicBezTo>
                    <a:pt x="1877" y="794"/>
                    <a:pt x="1877" y="794"/>
                    <a:pt x="1877" y="794"/>
                  </a:cubicBezTo>
                  <a:close/>
                </a:path>
              </a:pathLst>
            </a:custGeom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0" name="Oval 15"/>
            <p:cNvSpPr>
              <a:spLocks noChangeArrowheads="1"/>
            </p:cNvSpPr>
            <p:nvPr/>
          </p:nvSpPr>
          <p:spPr bwMode="auto">
            <a:xfrm>
              <a:off x="16748125" y="1066800"/>
              <a:ext cx="4660900" cy="4662488"/>
            </a:xfrm>
            <a:prstGeom prst="ellipse">
              <a:avLst/>
            </a:prstGeom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1" name="Freeform 16"/>
            <p:cNvSpPr>
              <a:spLocks noEditPoints="1"/>
            </p:cNvSpPr>
            <p:nvPr/>
          </p:nvSpPr>
          <p:spPr bwMode="auto">
            <a:xfrm>
              <a:off x="23055263" y="587375"/>
              <a:ext cx="9056688" cy="7851775"/>
            </a:xfrm>
            <a:custGeom>
              <a:avLst/>
              <a:gdLst>
                <a:gd name="T0" fmla="*/ 1840 w 2415"/>
                <a:gd name="T1" fmla="*/ 0 h 2094"/>
                <a:gd name="T2" fmla="*/ 348 w 2415"/>
                <a:gd name="T3" fmla="*/ 1482 h 2094"/>
                <a:gd name="T4" fmla="*/ 365 w 2415"/>
                <a:gd name="T5" fmla="*/ 1612 h 2094"/>
                <a:gd name="T6" fmla="*/ 492 w 2415"/>
                <a:gd name="T7" fmla="*/ 1682 h 2094"/>
                <a:gd name="T8" fmla="*/ 1001 w 2415"/>
                <a:gd name="T9" fmla="*/ 1739 h 2094"/>
                <a:gd name="T10" fmla="*/ 1036 w 2415"/>
                <a:gd name="T11" fmla="*/ 1756 h 2094"/>
                <a:gd name="T12" fmla="*/ 1032 w 2415"/>
                <a:gd name="T13" fmla="*/ 1845 h 2094"/>
                <a:gd name="T14" fmla="*/ 1002 w 2415"/>
                <a:gd name="T15" fmla="*/ 1859 h 2094"/>
                <a:gd name="T16" fmla="*/ 2411 w 2415"/>
                <a:gd name="T17" fmla="*/ 2038 h 2094"/>
                <a:gd name="T18" fmla="*/ 558 w 2415"/>
                <a:gd name="T19" fmla="*/ 1534 h 2094"/>
                <a:gd name="T20" fmla="*/ 484 w 2415"/>
                <a:gd name="T21" fmla="*/ 1550 h 2094"/>
                <a:gd name="T22" fmla="*/ 430 w 2415"/>
                <a:gd name="T23" fmla="*/ 1482 h 2094"/>
                <a:gd name="T24" fmla="*/ 575 w 2415"/>
                <a:gd name="T25" fmla="*/ 1480 h 2094"/>
                <a:gd name="T26" fmla="*/ 768 w 2415"/>
                <a:gd name="T27" fmla="*/ 1675 h 2094"/>
                <a:gd name="T28" fmla="*/ 604 w 2415"/>
                <a:gd name="T29" fmla="*/ 1678 h 2094"/>
                <a:gd name="T30" fmla="*/ 762 w 2415"/>
                <a:gd name="T31" fmla="*/ 1593 h 2094"/>
                <a:gd name="T32" fmla="*/ 795 w 2415"/>
                <a:gd name="T33" fmla="*/ 1536 h 2094"/>
                <a:gd name="T34" fmla="*/ 654 w 2415"/>
                <a:gd name="T35" fmla="*/ 1489 h 2094"/>
                <a:gd name="T36" fmla="*/ 770 w 2415"/>
                <a:gd name="T37" fmla="*/ 1468 h 2094"/>
                <a:gd name="T38" fmla="*/ 1035 w 2415"/>
                <a:gd name="T39" fmla="*/ 1673 h 2094"/>
                <a:gd name="T40" fmla="*/ 870 w 2415"/>
                <a:gd name="T41" fmla="*/ 1678 h 2094"/>
                <a:gd name="T42" fmla="*/ 1038 w 2415"/>
                <a:gd name="T43" fmla="*/ 1615 h 2094"/>
                <a:gd name="T44" fmla="*/ 882 w 2415"/>
                <a:gd name="T45" fmla="*/ 1536 h 2094"/>
                <a:gd name="T46" fmla="*/ 894 w 2415"/>
                <a:gd name="T47" fmla="*/ 1476 h 2094"/>
                <a:gd name="T48" fmla="*/ 928 w 2415"/>
                <a:gd name="T49" fmla="*/ 1468 h 2094"/>
                <a:gd name="T50" fmla="*/ 231 w 2415"/>
                <a:gd name="T51" fmla="*/ 1302 h 2094"/>
                <a:gd name="T52" fmla="*/ 1880 w 2415"/>
                <a:gd name="T53" fmla="*/ 1540 h 2094"/>
                <a:gd name="T54" fmla="*/ 1723 w 2415"/>
                <a:gd name="T55" fmla="*/ 1525 h 2094"/>
                <a:gd name="T56" fmla="*/ 1818 w 2415"/>
                <a:gd name="T57" fmla="*/ 1467 h 2094"/>
                <a:gd name="T58" fmla="*/ 1121 w 2415"/>
                <a:gd name="T59" fmla="*/ 1536 h 2094"/>
                <a:gd name="T60" fmla="*/ 1137 w 2415"/>
                <a:gd name="T61" fmla="*/ 1470 h 2094"/>
                <a:gd name="T62" fmla="*/ 1272 w 2415"/>
                <a:gd name="T63" fmla="*/ 1534 h 2094"/>
                <a:gd name="T64" fmla="*/ 1144 w 2415"/>
                <a:gd name="T65" fmla="*/ 1547 h 2094"/>
                <a:gd name="T66" fmla="*/ 1126 w 2415"/>
                <a:gd name="T67" fmla="*/ 1657 h 2094"/>
                <a:gd name="T68" fmla="*/ 1300 w 2415"/>
                <a:gd name="T69" fmla="*/ 1672 h 2094"/>
                <a:gd name="T70" fmla="*/ 1274 w 2415"/>
                <a:gd name="T71" fmla="*/ 1687 h 2094"/>
                <a:gd name="T72" fmla="*/ 1147 w 2415"/>
                <a:gd name="T73" fmla="*/ 1683 h 2094"/>
                <a:gd name="T74" fmla="*/ 1193 w 2415"/>
                <a:gd name="T75" fmla="*/ 1859 h 2094"/>
                <a:gd name="T76" fmla="*/ 1139 w 2415"/>
                <a:gd name="T77" fmla="*/ 1824 h 2094"/>
                <a:gd name="T78" fmla="*/ 1143 w 2415"/>
                <a:gd name="T79" fmla="*/ 1749 h 2094"/>
                <a:gd name="T80" fmla="*/ 1166 w 2415"/>
                <a:gd name="T81" fmla="*/ 1739 h 2094"/>
                <a:gd name="T82" fmla="*/ 1284 w 2415"/>
                <a:gd name="T83" fmla="*/ 1739 h 2094"/>
                <a:gd name="T84" fmla="*/ 1328 w 2415"/>
                <a:gd name="T85" fmla="*/ 1790 h 2094"/>
                <a:gd name="T86" fmla="*/ 1472 w 2415"/>
                <a:gd name="T87" fmla="*/ 1481 h 2094"/>
                <a:gd name="T88" fmla="*/ 1607 w 2415"/>
                <a:gd name="T89" fmla="*/ 1473 h 2094"/>
                <a:gd name="T90" fmla="*/ 1630 w 2415"/>
                <a:gd name="T91" fmla="*/ 1545 h 2094"/>
                <a:gd name="T92" fmla="*/ 1505 w 2415"/>
                <a:gd name="T93" fmla="*/ 1541 h 2094"/>
                <a:gd name="T94" fmla="*/ 1525 w 2415"/>
                <a:gd name="T95" fmla="*/ 1596 h 2094"/>
                <a:gd name="T96" fmla="*/ 1712 w 2415"/>
                <a:gd name="T97" fmla="*/ 1672 h 2094"/>
                <a:gd name="T98" fmla="*/ 1686 w 2415"/>
                <a:gd name="T99" fmla="*/ 1687 h 2094"/>
                <a:gd name="T100" fmla="*/ 1790 w 2415"/>
                <a:gd name="T101" fmla="*/ 1847 h 2094"/>
                <a:gd name="T102" fmla="*/ 1649 w 2415"/>
                <a:gd name="T103" fmla="*/ 1857 h 2094"/>
                <a:gd name="T104" fmla="*/ 1603 w 2415"/>
                <a:gd name="T105" fmla="*/ 1737 h 2094"/>
                <a:gd name="T106" fmla="*/ 1763 w 2415"/>
                <a:gd name="T107" fmla="*/ 1765 h 2094"/>
                <a:gd name="T108" fmla="*/ 1770 w 2415"/>
                <a:gd name="T109" fmla="*/ 1604 h 2094"/>
                <a:gd name="T110" fmla="*/ 1975 w 2415"/>
                <a:gd name="T111" fmla="*/ 1676 h 2094"/>
                <a:gd name="T112" fmla="*/ 1814 w 2415"/>
                <a:gd name="T113" fmla="*/ 1675 h 2094"/>
                <a:gd name="T114" fmla="*/ 1891 w 2415"/>
                <a:gd name="T115" fmla="*/ 1824 h 2094"/>
                <a:gd name="T116" fmla="*/ 1979 w 2415"/>
                <a:gd name="T117" fmla="*/ 1736 h 2094"/>
                <a:gd name="T118" fmla="*/ 2089 w 2415"/>
                <a:gd name="T119" fmla="*/ 1829 h 2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15" h="2094">
                  <a:moveTo>
                    <a:pt x="2389" y="1883"/>
                  </a:moveTo>
                  <a:cubicBezTo>
                    <a:pt x="2381" y="1875"/>
                    <a:pt x="2375" y="1868"/>
                    <a:pt x="2369" y="1860"/>
                  </a:cubicBezTo>
                  <a:cubicBezTo>
                    <a:pt x="2335" y="1820"/>
                    <a:pt x="2301" y="1780"/>
                    <a:pt x="2267" y="1740"/>
                  </a:cubicBezTo>
                  <a:cubicBezTo>
                    <a:pt x="2191" y="1651"/>
                    <a:pt x="2117" y="1563"/>
                    <a:pt x="2041" y="1475"/>
                  </a:cubicBezTo>
                  <a:cubicBezTo>
                    <a:pt x="2038" y="1471"/>
                    <a:pt x="2034" y="1465"/>
                    <a:pt x="2030" y="1461"/>
                  </a:cubicBezTo>
                  <a:cubicBezTo>
                    <a:pt x="2014" y="1443"/>
                    <a:pt x="1991" y="1432"/>
                    <a:pt x="1968" y="1424"/>
                  </a:cubicBezTo>
                  <a:cubicBezTo>
                    <a:pt x="1944" y="1416"/>
                    <a:pt x="1918" y="1411"/>
                    <a:pt x="1892" y="1410"/>
                  </a:cubicBezTo>
                  <a:cubicBezTo>
                    <a:pt x="1982" y="1386"/>
                    <a:pt x="2049" y="1306"/>
                    <a:pt x="2049" y="1209"/>
                  </a:cubicBezTo>
                  <a:cubicBezTo>
                    <a:pt x="2049" y="208"/>
                    <a:pt x="2049" y="208"/>
                    <a:pt x="2049" y="208"/>
                  </a:cubicBezTo>
                  <a:cubicBezTo>
                    <a:pt x="2049" y="93"/>
                    <a:pt x="1954" y="0"/>
                    <a:pt x="1840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94" y="0"/>
                    <a:pt x="0" y="93"/>
                    <a:pt x="0" y="208"/>
                  </a:cubicBezTo>
                  <a:cubicBezTo>
                    <a:pt x="0" y="1209"/>
                    <a:pt x="0" y="1209"/>
                    <a:pt x="0" y="1209"/>
                  </a:cubicBezTo>
                  <a:cubicBezTo>
                    <a:pt x="0" y="1215"/>
                    <a:pt x="0" y="1220"/>
                    <a:pt x="1" y="1226"/>
                  </a:cubicBezTo>
                  <a:cubicBezTo>
                    <a:pt x="85" y="1281"/>
                    <a:pt x="176" y="1358"/>
                    <a:pt x="263" y="1469"/>
                  </a:cubicBezTo>
                  <a:cubicBezTo>
                    <a:pt x="275" y="1469"/>
                    <a:pt x="287" y="1470"/>
                    <a:pt x="297" y="1470"/>
                  </a:cubicBezTo>
                  <a:cubicBezTo>
                    <a:pt x="310" y="1470"/>
                    <a:pt x="326" y="1467"/>
                    <a:pt x="338" y="1473"/>
                  </a:cubicBezTo>
                  <a:cubicBezTo>
                    <a:pt x="340" y="1474"/>
                    <a:pt x="341" y="1475"/>
                    <a:pt x="342" y="1475"/>
                  </a:cubicBezTo>
                  <a:cubicBezTo>
                    <a:pt x="342" y="1475"/>
                    <a:pt x="342" y="1476"/>
                    <a:pt x="343" y="1476"/>
                  </a:cubicBezTo>
                  <a:cubicBezTo>
                    <a:pt x="345" y="1477"/>
                    <a:pt x="348" y="1480"/>
                    <a:pt x="348" y="1482"/>
                  </a:cubicBezTo>
                  <a:cubicBezTo>
                    <a:pt x="349" y="1484"/>
                    <a:pt x="349" y="1487"/>
                    <a:pt x="347" y="1489"/>
                  </a:cubicBezTo>
                  <a:cubicBezTo>
                    <a:pt x="345" y="1491"/>
                    <a:pt x="345" y="1491"/>
                    <a:pt x="345" y="1491"/>
                  </a:cubicBezTo>
                  <a:cubicBezTo>
                    <a:pt x="343" y="1497"/>
                    <a:pt x="338" y="1506"/>
                    <a:pt x="335" y="1511"/>
                  </a:cubicBezTo>
                  <a:cubicBezTo>
                    <a:pt x="325" y="1528"/>
                    <a:pt x="325" y="1528"/>
                    <a:pt x="325" y="1528"/>
                  </a:cubicBezTo>
                  <a:cubicBezTo>
                    <a:pt x="324" y="1531"/>
                    <a:pt x="321" y="1534"/>
                    <a:pt x="318" y="1537"/>
                  </a:cubicBezTo>
                  <a:cubicBezTo>
                    <a:pt x="316" y="1537"/>
                    <a:pt x="315" y="1538"/>
                    <a:pt x="314" y="1539"/>
                  </a:cubicBezTo>
                  <a:cubicBezTo>
                    <a:pt x="330" y="1563"/>
                    <a:pt x="346" y="1589"/>
                    <a:pt x="362" y="1615"/>
                  </a:cubicBezTo>
                  <a:cubicBezTo>
                    <a:pt x="362" y="1615"/>
                    <a:pt x="363" y="1615"/>
                    <a:pt x="363" y="1615"/>
                  </a:cubicBezTo>
                  <a:cubicBezTo>
                    <a:pt x="363" y="1614"/>
                    <a:pt x="364" y="1613"/>
                    <a:pt x="364" y="1612"/>
                  </a:cubicBezTo>
                  <a:cubicBezTo>
                    <a:pt x="364" y="1612"/>
                    <a:pt x="364" y="1612"/>
                    <a:pt x="365" y="1612"/>
                  </a:cubicBezTo>
                  <a:cubicBezTo>
                    <a:pt x="383" y="1587"/>
                    <a:pt x="425" y="1592"/>
                    <a:pt x="452" y="1592"/>
                  </a:cubicBezTo>
                  <a:cubicBezTo>
                    <a:pt x="459" y="1592"/>
                    <a:pt x="479" y="1590"/>
                    <a:pt x="496" y="1592"/>
                  </a:cubicBezTo>
                  <a:cubicBezTo>
                    <a:pt x="502" y="1592"/>
                    <a:pt x="508" y="1592"/>
                    <a:pt x="512" y="1593"/>
                  </a:cubicBezTo>
                  <a:cubicBezTo>
                    <a:pt x="515" y="1594"/>
                    <a:pt x="518" y="1595"/>
                    <a:pt x="520" y="1596"/>
                  </a:cubicBezTo>
                  <a:cubicBezTo>
                    <a:pt x="526" y="1599"/>
                    <a:pt x="531" y="1605"/>
                    <a:pt x="531" y="1611"/>
                  </a:cubicBezTo>
                  <a:cubicBezTo>
                    <a:pt x="531" y="1612"/>
                    <a:pt x="531" y="1612"/>
                    <a:pt x="531" y="1613"/>
                  </a:cubicBezTo>
                  <a:cubicBezTo>
                    <a:pt x="531" y="1614"/>
                    <a:pt x="531" y="1615"/>
                    <a:pt x="531" y="1616"/>
                  </a:cubicBezTo>
                  <a:cubicBezTo>
                    <a:pt x="513" y="1663"/>
                    <a:pt x="513" y="1663"/>
                    <a:pt x="513" y="1663"/>
                  </a:cubicBezTo>
                  <a:cubicBezTo>
                    <a:pt x="512" y="1667"/>
                    <a:pt x="509" y="1671"/>
                    <a:pt x="506" y="1674"/>
                  </a:cubicBezTo>
                  <a:cubicBezTo>
                    <a:pt x="502" y="1677"/>
                    <a:pt x="497" y="1680"/>
                    <a:pt x="492" y="1682"/>
                  </a:cubicBezTo>
                  <a:cubicBezTo>
                    <a:pt x="492" y="1683"/>
                    <a:pt x="491" y="1683"/>
                    <a:pt x="491" y="1683"/>
                  </a:cubicBezTo>
                  <a:cubicBezTo>
                    <a:pt x="484" y="1686"/>
                    <a:pt x="477" y="1688"/>
                    <a:pt x="469" y="1690"/>
                  </a:cubicBezTo>
                  <a:cubicBezTo>
                    <a:pt x="467" y="1690"/>
                    <a:pt x="467" y="1690"/>
                    <a:pt x="467" y="1690"/>
                  </a:cubicBezTo>
                  <a:cubicBezTo>
                    <a:pt x="465" y="1690"/>
                    <a:pt x="464" y="1690"/>
                    <a:pt x="463" y="1690"/>
                  </a:cubicBezTo>
                  <a:cubicBezTo>
                    <a:pt x="449" y="1691"/>
                    <a:pt x="433" y="1690"/>
                    <a:pt x="418" y="1690"/>
                  </a:cubicBezTo>
                  <a:cubicBezTo>
                    <a:pt x="413" y="1690"/>
                    <a:pt x="409" y="1690"/>
                    <a:pt x="404" y="1690"/>
                  </a:cubicBezTo>
                  <a:cubicBezTo>
                    <a:pt x="412" y="1706"/>
                    <a:pt x="420" y="1723"/>
                    <a:pt x="428" y="1739"/>
                  </a:cubicBezTo>
                  <a:cubicBezTo>
                    <a:pt x="592" y="1739"/>
                    <a:pt x="954" y="1738"/>
                    <a:pt x="971" y="1738"/>
                  </a:cubicBezTo>
                  <a:cubicBezTo>
                    <a:pt x="977" y="1738"/>
                    <a:pt x="985" y="1738"/>
                    <a:pt x="992" y="1738"/>
                  </a:cubicBezTo>
                  <a:cubicBezTo>
                    <a:pt x="995" y="1738"/>
                    <a:pt x="998" y="1738"/>
                    <a:pt x="1001" y="1739"/>
                  </a:cubicBezTo>
                  <a:cubicBezTo>
                    <a:pt x="1002" y="1739"/>
                    <a:pt x="1002" y="1739"/>
                    <a:pt x="1002" y="1739"/>
                  </a:cubicBezTo>
                  <a:cubicBezTo>
                    <a:pt x="1004" y="1739"/>
                    <a:pt x="1007" y="1739"/>
                    <a:pt x="1009" y="1740"/>
                  </a:cubicBezTo>
                  <a:cubicBezTo>
                    <a:pt x="1010" y="1740"/>
                    <a:pt x="1010" y="1740"/>
                    <a:pt x="1010" y="1740"/>
                  </a:cubicBezTo>
                  <a:cubicBezTo>
                    <a:pt x="1013" y="1741"/>
                    <a:pt x="1016" y="1742"/>
                    <a:pt x="1018" y="1743"/>
                  </a:cubicBezTo>
                  <a:cubicBezTo>
                    <a:pt x="1019" y="1743"/>
                    <a:pt x="1019" y="1743"/>
                    <a:pt x="1019" y="1743"/>
                  </a:cubicBezTo>
                  <a:cubicBezTo>
                    <a:pt x="1021" y="1744"/>
                    <a:pt x="1023" y="1745"/>
                    <a:pt x="1025" y="1746"/>
                  </a:cubicBezTo>
                  <a:cubicBezTo>
                    <a:pt x="1025" y="1746"/>
                    <a:pt x="1025" y="1746"/>
                    <a:pt x="1026" y="1746"/>
                  </a:cubicBezTo>
                  <a:cubicBezTo>
                    <a:pt x="1026" y="1747"/>
                    <a:pt x="1026" y="1747"/>
                    <a:pt x="1026" y="1747"/>
                  </a:cubicBezTo>
                  <a:cubicBezTo>
                    <a:pt x="1028" y="1748"/>
                    <a:pt x="1029" y="1749"/>
                    <a:pt x="1030" y="1750"/>
                  </a:cubicBezTo>
                  <a:cubicBezTo>
                    <a:pt x="1032" y="1751"/>
                    <a:pt x="1034" y="1753"/>
                    <a:pt x="1036" y="1756"/>
                  </a:cubicBezTo>
                  <a:cubicBezTo>
                    <a:pt x="1038" y="1759"/>
                    <a:pt x="1040" y="1763"/>
                    <a:pt x="1040" y="1768"/>
                  </a:cubicBezTo>
                  <a:cubicBezTo>
                    <a:pt x="1040" y="1771"/>
                    <a:pt x="1040" y="1771"/>
                    <a:pt x="1040" y="1771"/>
                  </a:cubicBezTo>
                  <a:cubicBezTo>
                    <a:pt x="1040" y="1785"/>
                    <a:pt x="1040" y="1801"/>
                    <a:pt x="1040" y="1815"/>
                  </a:cubicBezTo>
                  <a:cubicBezTo>
                    <a:pt x="1040" y="1819"/>
                    <a:pt x="1041" y="1822"/>
                    <a:pt x="1040" y="1826"/>
                  </a:cubicBezTo>
                  <a:cubicBezTo>
                    <a:pt x="1040" y="1828"/>
                    <a:pt x="1040" y="1830"/>
                    <a:pt x="1039" y="1832"/>
                  </a:cubicBezTo>
                  <a:cubicBezTo>
                    <a:pt x="1039" y="1834"/>
                    <a:pt x="1039" y="1834"/>
                    <a:pt x="1039" y="1834"/>
                  </a:cubicBezTo>
                  <a:cubicBezTo>
                    <a:pt x="1038" y="1836"/>
                    <a:pt x="1038" y="1838"/>
                    <a:pt x="1037" y="1839"/>
                  </a:cubicBezTo>
                  <a:cubicBezTo>
                    <a:pt x="1037" y="1839"/>
                    <a:pt x="1037" y="1839"/>
                    <a:pt x="1037" y="1840"/>
                  </a:cubicBezTo>
                  <a:cubicBezTo>
                    <a:pt x="1036" y="1840"/>
                    <a:pt x="1036" y="1840"/>
                    <a:pt x="1036" y="1840"/>
                  </a:cubicBezTo>
                  <a:cubicBezTo>
                    <a:pt x="1035" y="1842"/>
                    <a:pt x="1034" y="1844"/>
                    <a:pt x="1032" y="1845"/>
                  </a:cubicBezTo>
                  <a:cubicBezTo>
                    <a:pt x="1030" y="1847"/>
                    <a:pt x="1029" y="1848"/>
                    <a:pt x="1027" y="1850"/>
                  </a:cubicBezTo>
                  <a:cubicBezTo>
                    <a:pt x="1026" y="1850"/>
                    <a:pt x="1026" y="1850"/>
                    <a:pt x="1026" y="1850"/>
                  </a:cubicBezTo>
                  <a:cubicBezTo>
                    <a:pt x="1025" y="1851"/>
                    <a:pt x="1025" y="1851"/>
                    <a:pt x="1025" y="1851"/>
                  </a:cubicBezTo>
                  <a:cubicBezTo>
                    <a:pt x="1023" y="1852"/>
                    <a:pt x="1021" y="1853"/>
                    <a:pt x="1019" y="1854"/>
                  </a:cubicBezTo>
                  <a:cubicBezTo>
                    <a:pt x="1019" y="1854"/>
                    <a:pt x="1019" y="1854"/>
                    <a:pt x="1018" y="1854"/>
                  </a:cubicBezTo>
                  <a:cubicBezTo>
                    <a:pt x="1017" y="1855"/>
                    <a:pt x="1015" y="1856"/>
                    <a:pt x="1013" y="1856"/>
                  </a:cubicBezTo>
                  <a:cubicBezTo>
                    <a:pt x="1012" y="1856"/>
                    <a:pt x="1011" y="1857"/>
                    <a:pt x="1010" y="1857"/>
                  </a:cubicBezTo>
                  <a:cubicBezTo>
                    <a:pt x="1010" y="1857"/>
                    <a:pt x="1010" y="1857"/>
                    <a:pt x="1009" y="1857"/>
                  </a:cubicBezTo>
                  <a:cubicBezTo>
                    <a:pt x="1009" y="1857"/>
                    <a:pt x="1008" y="1857"/>
                    <a:pt x="1008" y="1858"/>
                  </a:cubicBezTo>
                  <a:cubicBezTo>
                    <a:pt x="1006" y="1858"/>
                    <a:pt x="1004" y="1858"/>
                    <a:pt x="1002" y="1859"/>
                  </a:cubicBezTo>
                  <a:cubicBezTo>
                    <a:pt x="1000" y="1859"/>
                    <a:pt x="998" y="1859"/>
                    <a:pt x="997" y="1859"/>
                  </a:cubicBezTo>
                  <a:cubicBezTo>
                    <a:pt x="995" y="1860"/>
                    <a:pt x="993" y="1860"/>
                    <a:pt x="991" y="1860"/>
                  </a:cubicBezTo>
                  <a:cubicBezTo>
                    <a:pt x="991" y="1860"/>
                    <a:pt x="990" y="1860"/>
                    <a:pt x="989" y="1860"/>
                  </a:cubicBezTo>
                  <a:cubicBezTo>
                    <a:pt x="987" y="1860"/>
                    <a:pt x="987" y="1860"/>
                    <a:pt x="987" y="1860"/>
                  </a:cubicBezTo>
                  <a:cubicBezTo>
                    <a:pt x="976" y="1860"/>
                    <a:pt x="965" y="1860"/>
                    <a:pt x="955" y="1860"/>
                  </a:cubicBezTo>
                  <a:cubicBezTo>
                    <a:pt x="922" y="1860"/>
                    <a:pt x="668" y="1861"/>
                    <a:pt x="484" y="1862"/>
                  </a:cubicBezTo>
                  <a:cubicBezTo>
                    <a:pt x="517" y="1942"/>
                    <a:pt x="531" y="2020"/>
                    <a:pt x="532" y="2094"/>
                  </a:cubicBezTo>
                  <a:cubicBezTo>
                    <a:pt x="1249" y="2094"/>
                    <a:pt x="2201" y="2094"/>
                    <a:pt x="2246" y="2094"/>
                  </a:cubicBezTo>
                  <a:cubicBezTo>
                    <a:pt x="2281" y="2094"/>
                    <a:pt x="2322" y="2090"/>
                    <a:pt x="2357" y="2083"/>
                  </a:cubicBezTo>
                  <a:cubicBezTo>
                    <a:pt x="2380" y="2079"/>
                    <a:pt x="2408" y="2066"/>
                    <a:pt x="2411" y="2038"/>
                  </a:cubicBezTo>
                  <a:cubicBezTo>
                    <a:pt x="2411" y="1941"/>
                    <a:pt x="2411" y="1941"/>
                    <a:pt x="2411" y="1941"/>
                  </a:cubicBezTo>
                  <a:cubicBezTo>
                    <a:pt x="2415" y="1919"/>
                    <a:pt x="2402" y="1898"/>
                    <a:pt x="2389" y="1883"/>
                  </a:cubicBezTo>
                  <a:close/>
                  <a:moveTo>
                    <a:pt x="566" y="1519"/>
                  </a:moveTo>
                  <a:cubicBezTo>
                    <a:pt x="566" y="1520"/>
                    <a:pt x="566" y="1520"/>
                    <a:pt x="566" y="1520"/>
                  </a:cubicBezTo>
                  <a:cubicBezTo>
                    <a:pt x="565" y="1522"/>
                    <a:pt x="564" y="1524"/>
                    <a:pt x="563" y="1526"/>
                  </a:cubicBezTo>
                  <a:cubicBezTo>
                    <a:pt x="563" y="1527"/>
                    <a:pt x="563" y="1527"/>
                    <a:pt x="563" y="1527"/>
                  </a:cubicBezTo>
                  <a:cubicBezTo>
                    <a:pt x="563" y="1528"/>
                    <a:pt x="562" y="1529"/>
                    <a:pt x="562" y="1529"/>
                  </a:cubicBezTo>
                  <a:cubicBezTo>
                    <a:pt x="562" y="1530"/>
                    <a:pt x="561" y="1530"/>
                    <a:pt x="561" y="1531"/>
                  </a:cubicBezTo>
                  <a:cubicBezTo>
                    <a:pt x="561" y="1531"/>
                    <a:pt x="560" y="1532"/>
                    <a:pt x="560" y="1533"/>
                  </a:cubicBezTo>
                  <a:cubicBezTo>
                    <a:pt x="558" y="1533"/>
                    <a:pt x="558" y="1533"/>
                    <a:pt x="558" y="1534"/>
                  </a:cubicBezTo>
                  <a:cubicBezTo>
                    <a:pt x="557" y="1534"/>
                    <a:pt x="557" y="1534"/>
                    <a:pt x="557" y="1534"/>
                  </a:cubicBezTo>
                  <a:cubicBezTo>
                    <a:pt x="556" y="1536"/>
                    <a:pt x="556" y="1536"/>
                    <a:pt x="556" y="1537"/>
                  </a:cubicBezTo>
                  <a:cubicBezTo>
                    <a:pt x="554" y="1538"/>
                    <a:pt x="553" y="1539"/>
                    <a:pt x="551" y="1540"/>
                  </a:cubicBezTo>
                  <a:cubicBezTo>
                    <a:pt x="549" y="1541"/>
                    <a:pt x="547" y="1542"/>
                    <a:pt x="546" y="1543"/>
                  </a:cubicBezTo>
                  <a:cubicBezTo>
                    <a:pt x="545" y="1543"/>
                    <a:pt x="545" y="1543"/>
                    <a:pt x="545" y="1543"/>
                  </a:cubicBezTo>
                  <a:cubicBezTo>
                    <a:pt x="544" y="1544"/>
                    <a:pt x="544" y="1544"/>
                    <a:pt x="544" y="1544"/>
                  </a:cubicBezTo>
                  <a:cubicBezTo>
                    <a:pt x="538" y="1546"/>
                    <a:pt x="532" y="1548"/>
                    <a:pt x="526" y="1549"/>
                  </a:cubicBezTo>
                  <a:cubicBezTo>
                    <a:pt x="524" y="1549"/>
                    <a:pt x="522" y="1549"/>
                    <a:pt x="520" y="1549"/>
                  </a:cubicBezTo>
                  <a:cubicBezTo>
                    <a:pt x="520" y="1549"/>
                    <a:pt x="520" y="1550"/>
                    <a:pt x="519" y="1550"/>
                  </a:cubicBezTo>
                  <a:cubicBezTo>
                    <a:pt x="508" y="1551"/>
                    <a:pt x="496" y="1550"/>
                    <a:pt x="484" y="1550"/>
                  </a:cubicBezTo>
                  <a:cubicBezTo>
                    <a:pt x="435" y="1550"/>
                    <a:pt x="435" y="1550"/>
                    <a:pt x="435" y="1550"/>
                  </a:cubicBezTo>
                  <a:cubicBezTo>
                    <a:pt x="425" y="1550"/>
                    <a:pt x="408" y="1548"/>
                    <a:pt x="403" y="1537"/>
                  </a:cubicBezTo>
                  <a:cubicBezTo>
                    <a:pt x="403" y="1536"/>
                    <a:pt x="403" y="1534"/>
                    <a:pt x="403" y="1533"/>
                  </a:cubicBezTo>
                  <a:cubicBezTo>
                    <a:pt x="403" y="1532"/>
                    <a:pt x="403" y="1532"/>
                    <a:pt x="403" y="1531"/>
                  </a:cubicBezTo>
                  <a:cubicBezTo>
                    <a:pt x="404" y="1527"/>
                    <a:pt x="408" y="1523"/>
                    <a:pt x="410" y="1519"/>
                  </a:cubicBezTo>
                  <a:cubicBezTo>
                    <a:pt x="414" y="1509"/>
                    <a:pt x="418" y="1494"/>
                    <a:pt x="426" y="1486"/>
                  </a:cubicBezTo>
                  <a:cubicBezTo>
                    <a:pt x="426" y="1485"/>
                    <a:pt x="427" y="1485"/>
                    <a:pt x="427" y="1485"/>
                  </a:cubicBezTo>
                  <a:cubicBezTo>
                    <a:pt x="428" y="1484"/>
                    <a:pt x="428" y="1484"/>
                    <a:pt x="428" y="1483"/>
                  </a:cubicBezTo>
                  <a:cubicBezTo>
                    <a:pt x="429" y="1483"/>
                    <a:pt x="429" y="1483"/>
                    <a:pt x="429" y="1483"/>
                  </a:cubicBezTo>
                  <a:cubicBezTo>
                    <a:pt x="430" y="1482"/>
                    <a:pt x="430" y="1482"/>
                    <a:pt x="430" y="1482"/>
                  </a:cubicBezTo>
                  <a:cubicBezTo>
                    <a:pt x="431" y="1481"/>
                    <a:pt x="431" y="1481"/>
                    <a:pt x="431" y="1481"/>
                  </a:cubicBezTo>
                  <a:cubicBezTo>
                    <a:pt x="439" y="1476"/>
                    <a:pt x="447" y="1473"/>
                    <a:pt x="456" y="1472"/>
                  </a:cubicBezTo>
                  <a:cubicBezTo>
                    <a:pt x="456" y="1472"/>
                    <a:pt x="456" y="1471"/>
                    <a:pt x="457" y="1471"/>
                  </a:cubicBezTo>
                  <a:cubicBezTo>
                    <a:pt x="462" y="1470"/>
                    <a:pt x="467" y="1470"/>
                    <a:pt x="473" y="1470"/>
                  </a:cubicBezTo>
                  <a:cubicBezTo>
                    <a:pt x="503" y="1470"/>
                    <a:pt x="503" y="1470"/>
                    <a:pt x="503" y="1470"/>
                  </a:cubicBezTo>
                  <a:cubicBezTo>
                    <a:pt x="512" y="1470"/>
                    <a:pt x="521" y="1470"/>
                    <a:pt x="531" y="1470"/>
                  </a:cubicBezTo>
                  <a:cubicBezTo>
                    <a:pt x="544" y="1470"/>
                    <a:pt x="563" y="1467"/>
                    <a:pt x="573" y="1477"/>
                  </a:cubicBezTo>
                  <a:cubicBezTo>
                    <a:pt x="573" y="1478"/>
                    <a:pt x="574" y="1478"/>
                    <a:pt x="574" y="1479"/>
                  </a:cubicBezTo>
                  <a:cubicBezTo>
                    <a:pt x="575" y="1479"/>
                    <a:pt x="575" y="1479"/>
                    <a:pt x="575" y="1479"/>
                  </a:cubicBezTo>
                  <a:cubicBezTo>
                    <a:pt x="575" y="1480"/>
                    <a:pt x="575" y="1480"/>
                    <a:pt x="575" y="1480"/>
                  </a:cubicBezTo>
                  <a:cubicBezTo>
                    <a:pt x="576" y="1480"/>
                    <a:pt x="576" y="1481"/>
                    <a:pt x="576" y="1481"/>
                  </a:cubicBezTo>
                  <a:cubicBezTo>
                    <a:pt x="577" y="1483"/>
                    <a:pt x="577" y="1485"/>
                    <a:pt x="577" y="1487"/>
                  </a:cubicBezTo>
                  <a:cubicBezTo>
                    <a:pt x="576" y="1497"/>
                    <a:pt x="568" y="1513"/>
                    <a:pt x="566" y="1519"/>
                  </a:cubicBezTo>
                  <a:close/>
                  <a:moveTo>
                    <a:pt x="784" y="1616"/>
                  </a:moveTo>
                  <a:cubicBezTo>
                    <a:pt x="784" y="1618"/>
                    <a:pt x="784" y="1618"/>
                    <a:pt x="784" y="1618"/>
                  </a:cubicBezTo>
                  <a:cubicBezTo>
                    <a:pt x="783" y="1625"/>
                    <a:pt x="781" y="1632"/>
                    <a:pt x="780" y="1639"/>
                  </a:cubicBezTo>
                  <a:cubicBezTo>
                    <a:pt x="776" y="1662"/>
                    <a:pt x="776" y="1662"/>
                    <a:pt x="776" y="1662"/>
                  </a:cubicBezTo>
                  <a:cubicBezTo>
                    <a:pt x="776" y="1667"/>
                    <a:pt x="774" y="1670"/>
                    <a:pt x="770" y="1673"/>
                  </a:cubicBezTo>
                  <a:cubicBezTo>
                    <a:pt x="770" y="1674"/>
                    <a:pt x="769" y="1674"/>
                    <a:pt x="769" y="1674"/>
                  </a:cubicBezTo>
                  <a:cubicBezTo>
                    <a:pt x="769" y="1675"/>
                    <a:pt x="768" y="1675"/>
                    <a:pt x="768" y="1675"/>
                  </a:cubicBezTo>
                  <a:cubicBezTo>
                    <a:pt x="767" y="1676"/>
                    <a:pt x="766" y="1677"/>
                    <a:pt x="765" y="1678"/>
                  </a:cubicBezTo>
                  <a:cubicBezTo>
                    <a:pt x="759" y="1683"/>
                    <a:pt x="751" y="1686"/>
                    <a:pt x="744" y="1687"/>
                  </a:cubicBezTo>
                  <a:cubicBezTo>
                    <a:pt x="744" y="1688"/>
                    <a:pt x="744" y="1688"/>
                    <a:pt x="744" y="1688"/>
                  </a:cubicBezTo>
                  <a:cubicBezTo>
                    <a:pt x="743" y="1688"/>
                    <a:pt x="743" y="1688"/>
                    <a:pt x="743" y="1688"/>
                  </a:cubicBezTo>
                  <a:cubicBezTo>
                    <a:pt x="740" y="1688"/>
                    <a:pt x="738" y="1689"/>
                    <a:pt x="735" y="1689"/>
                  </a:cubicBezTo>
                  <a:cubicBezTo>
                    <a:pt x="735" y="1689"/>
                    <a:pt x="734" y="1689"/>
                    <a:pt x="733" y="1689"/>
                  </a:cubicBezTo>
                  <a:cubicBezTo>
                    <a:pt x="730" y="1689"/>
                    <a:pt x="728" y="1690"/>
                    <a:pt x="725" y="1690"/>
                  </a:cubicBezTo>
                  <a:cubicBezTo>
                    <a:pt x="639" y="1690"/>
                    <a:pt x="639" y="1690"/>
                    <a:pt x="639" y="1690"/>
                  </a:cubicBezTo>
                  <a:cubicBezTo>
                    <a:pt x="629" y="1690"/>
                    <a:pt x="617" y="1688"/>
                    <a:pt x="609" y="1682"/>
                  </a:cubicBezTo>
                  <a:cubicBezTo>
                    <a:pt x="607" y="1681"/>
                    <a:pt x="606" y="1680"/>
                    <a:pt x="604" y="1678"/>
                  </a:cubicBezTo>
                  <a:cubicBezTo>
                    <a:pt x="603" y="1677"/>
                    <a:pt x="603" y="1676"/>
                    <a:pt x="602" y="1675"/>
                  </a:cubicBezTo>
                  <a:cubicBezTo>
                    <a:pt x="602" y="1674"/>
                    <a:pt x="602" y="1674"/>
                    <a:pt x="602" y="1674"/>
                  </a:cubicBezTo>
                  <a:cubicBezTo>
                    <a:pt x="600" y="1671"/>
                    <a:pt x="600" y="1667"/>
                    <a:pt x="601" y="1663"/>
                  </a:cubicBezTo>
                  <a:cubicBezTo>
                    <a:pt x="603" y="1657"/>
                    <a:pt x="603" y="1657"/>
                    <a:pt x="603" y="1657"/>
                  </a:cubicBezTo>
                  <a:cubicBezTo>
                    <a:pt x="603" y="1656"/>
                    <a:pt x="603" y="1655"/>
                    <a:pt x="604" y="1654"/>
                  </a:cubicBezTo>
                  <a:cubicBezTo>
                    <a:pt x="615" y="1616"/>
                    <a:pt x="615" y="1616"/>
                    <a:pt x="615" y="1616"/>
                  </a:cubicBezTo>
                  <a:cubicBezTo>
                    <a:pt x="615" y="1615"/>
                    <a:pt x="615" y="1615"/>
                    <a:pt x="616" y="1614"/>
                  </a:cubicBezTo>
                  <a:cubicBezTo>
                    <a:pt x="628" y="1585"/>
                    <a:pt x="681" y="1591"/>
                    <a:pt x="705" y="1591"/>
                  </a:cubicBezTo>
                  <a:cubicBezTo>
                    <a:pt x="716" y="1591"/>
                    <a:pt x="735" y="1590"/>
                    <a:pt x="753" y="1591"/>
                  </a:cubicBezTo>
                  <a:cubicBezTo>
                    <a:pt x="756" y="1592"/>
                    <a:pt x="759" y="1592"/>
                    <a:pt x="762" y="1593"/>
                  </a:cubicBezTo>
                  <a:cubicBezTo>
                    <a:pt x="762" y="1593"/>
                    <a:pt x="762" y="1593"/>
                    <a:pt x="763" y="1593"/>
                  </a:cubicBezTo>
                  <a:cubicBezTo>
                    <a:pt x="771" y="1595"/>
                    <a:pt x="779" y="1599"/>
                    <a:pt x="782" y="1605"/>
                  </a:cubicBezTo>
                  <a:cubicBezTo>
                    <a:pt x="782" y="1606"/>
                    <a:pt x="782" y="1606"/>
                    <a:pt x="783" y="1606"/>
                  </a:cubicBezTo>
                  <a:cubicBezTo>
                    <a:pt x="783" y="1607"/>
                    <a:pt x="783" y="1607"/>
                    <a:pt x="783" y="1607"/>
                  </a:cubicBezTo>
                  <a:cubicBezTo>
                    <a:pt x="783" y="1608"/>
                    <a:pt x="783" y="1608"/>
                    <a:pt x="783" y="1608"/>
                  </a:cubicBezTo>
                  <a:cubicBezTo>
                    <a:pt x="784" y="1610"/>
                    <a:pt x="785" y="1613"/>
                    <a:pt x="784" y="1616"/>
                  </a:cubicBezTo>
                  <a:close/>
                  <a:moveTo>
                    <a:pt x="800" y="1524"/>
                  </a:moveTo>
                  <a:cubicBezTo>
                    <a:pt x="799" y="1527"/>
                    <a:pt x="799" y="1527"/>
                    <a:pt x="799" y="1527"/>
                  </a:cubicBezTo>
                  <a:cubicBezTo>
                    <a:pt x="799" y="1529"/>
                    <a:pt x="798" y="1531"/>
                    <a:pt x="796" y="1533"/>
                  </a:cubicBezTo>
                  <a:cubicBezTo>
                    <a:pt x="796" y="1534"/>
                    <a:pt x="795" y="1534"/>
                    <a:pt x="795" y="1536"/>
                  </a:cubicBezTo>
                  <a:cubicBezTo>
                    <a:pt x="795" y="1536"/>
                    <a:pt x="795" y="1536"/>
                    <a:pt x="794" y="1536"/>
                  </a:cubicBezTo>
                  <a:cubicBezTo>
                    <a:pt x="779" y="1554"/>
                    <a:pt x="736" y="1549"/>
                    <a:pt x="716" y="1549"/>
                  </a:cubicBezTo>
                  <a:cubicBezTo>
                    <a:pt x="703" y="1549"/>
                    <a:pt x="690" y="1549"/>
                    <a:pt x="677" y="1549"/>
                  </a:cubicBezTo>
                  <a:cubicBezTo>
                    <a:pt x="666" y="1549"/>
                    <a:pt x="648" y="1547"/>
                    <a:pt x="642" y="1536"/>
                  </a:cubicBezTo>
                  <a:cubicBezTo>
                    <a:pt x="642" y="1534"/>
                    <a:pt x="642" y="1533"/>
                    <a:pt x="642" y="1532"/>
                  </a:cubicBezTo>
                  <a:cubicBezTo>
                    <a:pt x="641" y="1532"/>
                    <a:pt x="641" y="1531"/>
                    <a:pt x="641" y="1530"/>
                  </a:cubicBezTo>
                  <a:cubicBezTo>
                    <a:pt x="641" y="1529"/>
                    <a:pt x="642" y="1528"/>
                    <a:pt x="642" y="1527"/>
                  </a:cubicBezTo>
                  <a:cubicBezTo>
                    <a:pt x="642" y="1524"/>
                    <a:pt x="644" y="1520"/>
                    <a:pt x="645" y="1518"/>
                  </a:cubicBezTo>
                  <a:cubicBezTo>
                    <a:pt x="647" y="1509"/>
                    <a:pt x="649" y="1498"/>
                    <a:pt x="654" y="1490"/>
                  </a:cubicBezTo>
                  <a:cubicBezTo>
                    <a:pt x="654" y="1489"/>
                    <a:pt x="654" y="1489"/>
                    <a:pt x="654" y="1489"/>
                  </a:cubicBezTo>
                  <a:cubicBezTo>
                    <a:pt x="655" y="1486"/>
                    <a:pt x="657" y="1483"/>
                    <a:pt x="659" y="1481"/>
                  </a:cubicBezTo>
                  <a:cubicBezTo>
                    <a:pt x="661" y="1480"/>
                    <a:pt x="662" y="1479"/>
                    <a:pt x="664" y="1478"/>
                  </a:cubicBezTo>
                  <a:cubicBezTo>
                    <a:pt x="669" y="1474"/>
                    <a:pt x="675" y="1472"/>
                    <a:pt x="682" y="1471"/>
                  </a:cubicBezTo>
                  <a:cubicBezTo>
                    <a:pt x="683" y="1471"/>
                    <a:pt x="683" y="1471"/>
                    <a:pt x="684" y="1471"/>
                  </a:cubicBezTo>
                  <a:cubicBezTo>
                    <a:pt x="688" y="1470"/>
                    <a:pt x="694" y="1468"/>
                    <a:pt x="699" y="1468"/>
                  </a:cubicBezTo>
                  <a:cubicBezTo>
                    <a:pt x="706" y="1468"/>
                    <a:pt x="706" y="1468"/>
                    <a:pt x="706" y="1468"/>
                  </a:cubicBezTo>
                  <a:cubicBezTo>
                    <a:pt x="708" y="1468"/>
                    <a:pt x="712" y="1468"/>
                    <a:pt x="714" y="1468"/>
                  </a:cubicBezTo>
                  <a:cubicBezTo>
                    <a:pt x="729" y="1468"/>
                    <a:pt x="746" y="1468"/>
                    <a:pt x="761" y="1468"/>
                  </a:cubicBezTo>
                  <a:cubicBezTo>
                    <a:pt x="763" y="1468"/>
                    <a:pt x="765" y="1468"/>
                    <a:pt x="768" y="1468"/>
                  </a:cubicBezTo>
                  <a:cubicBezTo>
                    <a:pt x="770" y="1468"/>
                    <a:pt x="770" y="1468"/>
                    <a:pt x="770" y="1468"/>
                  </a:cubicBezTo>
                  <a:cubicBezTo>
                    <a:pt x="771" y="1468"/>
                    <a:pt x="771" y="1468"/>
                    <a:pt x="773" y="1468"/>
                  </a:cubicBezTo>
                  <a:cubicBezTo>
                    <a:pt x="775" y="1468"/>
                    <a:pt x="777" y="1468"/>
                    <a:pt x="779" y="1470"/>
                  </a:cubicBezTo>
                  <a:cubicBezTo>
                    <a:pt x="791" y="1471"/>
                    <a:pt x="805" y="1474"/>
                    <a:pt x="807" y="1484"/>
                  </a:cubicBezTo>
                  <a:cubicBezTo>
                    <a:pt x="807" y="1485"/>
                    <a:pt x="807" y="1485"/>
                    <a:pt x="807" y="1485"/>
                  </a:cubicBezTo>
                  <a:cubicBezTo>
                    <a:pt x="807" y="1485"/>
                    <a:pt x="807" y="1485"/>
                    <a:pt x="807" y="1486"/>
                  </a:cubicBezTo>
                  <a:cubicBezTo>
                    <a:pt x="808" y="1497"/>
                    <a:pt x="803" y="1513"/>
                    <a:pt x="800" y="1524"/>
                  </a:cubicBezTo>
                  <a:close/>
                  <a:moveTo>
                    <a:pt x="1038" y="1639"/>
                  </a:moveTo>
                  <a:cubicBezTo>
                    <a:pt x="1038" y="1645"/>
                    <a:pt x="1038" y="1652"/>
                    <a:pt x="1038" y="1659"/>
                  </a:cubicBezTo>
                  <a:cubicBezTo>
                    <a:pt x="1038" y="1662"/>
                    <a:pt x="1038" y="1662"/>
                    <a:pt x="1038" y="1662"/>
                  </a:cubicBezTo>
                  <a:cubicBezTo>
                    <a:pt x="1038" y="1665"/>
                    <a:pt x="1037" y="1670"/>
                    <a:pt x="1035" y="1673"/>
                  </a:cubicBezTo>
                  <a:cubicBezTo>
                    <a:pt x="1034" y="1674"/>
                    <a:pt x="1034" y="1674"/>
                    <a:pt x="1034" y="1674"/>
                  </a:cubicBezTo>
                  <a:cubicBezTo>
                    <a:pt x="1033" y="1675"/>
                    <a:pt x="1032" y="1676"/>
                    <a:pt x="1031" y="1677"/>
                  </a:cubicBezTo>
                  <a:cubicBezTo>
                    <a:pt x="1026" y="1682"/>
                    <a:pt x="1019" y="1685"/>
                    <a:pt x="1010" y="1687"/>
                  </a:cubicBezTo>
                  <a:cubicBezTo>
                    <a:pt x="1007" y="1688"/>
                    <a:pt x="1005" y="1688"/>
                    <a:pt x="1003" y="1688"/>
                  </a:cubicBezTo>
                  <a:cubicBezTo>
                    <a:pt x="1002" y="1688"/>
                    <a:pt x="1001" y="1688"/>
                    <a:pt x="1001" y="1689"/>
                  </a:cubicBezTo>
                  <a:cubicBezTo>
                    <a:pt x="998" y="1689"/>
                    <a:pt x="995" y="1689"/>
                    <a:pt x="993" y="1689"/>
                  </a:cubicBezTo>
                  <a:cubicBezTo>
                    <a:pt x="907" y="1689"/>
                    <a:pt x="907" y="1689"/>
                    <a:pt x="907" y="1689"/>
                  </a:cubicBezTo>
                  <a:cubicBezTo>
                    <a:pt x="897" y="1689"/>
                    <a:pt x="884" y="1687"/>
                    <a:pt x="875" y="1682"/>
                  </a:cubicBezTo>
                  <a:cubicBezTo>
                    <a:pt x="875" y="1681"/>
                    <a:pt x="875" y="1681"/>
                    <a:pt x="875" y="1681"/>
                  </a:cubicBezTo>
                  <a:cubicBezTo>
                    <a:pt x="874" y="1680"/>
                    <a:pt x="872" y="1679"/>
                    <a:pt x="870" y="1678"/>
                  </a:cubicBezTo>
                  <a:cubicBezTo>
                    <a:pt x="869" y="1677"/>
                    <a:pt x="868" y="1675"/>
                    <a:pt x="867" y="1674"/>
                  </a:cubicBezTo>
                  <a:cubicBezTo>
                    <a:pt x="867" y="1674"/>
                    <a:pt x="867" y="1674"/>
                    <a:pt x="867" y="1673"/>
                  </a:cubicBezTo>
                  <a:cubicBezTo>
                    <a:pt x="865" y="1670"/>
                    <a:pt x="864" y="1667"/>
                    <a:pt x="864" y="1662"/>
                  </a:cubicBezTo>
                  <a:cubicBezTo>
                    <a:pt x="865" y="1656"/>
                    <a:pt x="865" y="1656"/>
                    <a:pt x="865" y="1656"/>
                  </a:cubicBezTo>
                  <a:cubicBezTo>
                    <a:pt x="867" y="1643"/>
                    <a:pt x="868" y="1629"/>
                    <a:pt x="870" y="1616"/>
                  </a:cubicBezTo>
                  <a:cubicBezTo>
                    <a:pt x="870" y="1615"/>
                    <a:pt x="870" y="1615"/>
                    <a:pt x="870" y="1615"/>
                  </a:cubicBezTo>
                  <a:cubicBezTo>
                    <a:pt x="870" y="1615"/>
                    <a:pt x="870" y="1615"/>
                    <a:pt x="870" y="1614"/>
                  </a:cubicBezTo>
                  <a:cubicBezTo>
                    <a:pt x="875" y="1584"/>
                    <a:pt x="935" y="1591"/>
                    <a:pt x="957" y="1591"/>
                  </a:cubicBezTo>
                  <a:cubicBezTo>
                    <a:pt x="977" y="1591"/>
                    <a:pt x="1025" y="1585"/>
                    <a:pt x="1036" y="1608"/>
                  </a:cubicBezTo>
                  <a:cubicBezTo>
                    <a:pt x="1037" y="1610"/>
                    <a:pt x="1038" y="1612"/>
                    <a:pt x="1038" y="1615"/>
                  </a:cubicBezTo>
                  <a:cubicBezTo>
                    <a:pt x="1038" y="1639"/>
                    <a:pt x="1038" y="1639"/>
                    <a:pt x="1038" y="1639"/>
                  </a:cubicBezTo>
                  <a:close/>
                  <a:moveTo>
                    <a:pt x="1037" y="1524"/>
                  </a:moveTo>
                  <a:cubicBezTo>
                    <a:pt x="1037" y="1526"/>
                    <a:pt x="1037" y="1526"/>
                    <a:pt x="1037" y="1526"/>
                  </a:cubicBezTo>
                  <a:cubicBezTo>
                    <a:pt x="1037" y="1529"/>
                    <a:pt x="1036" y="1531"/>
                    <a:pt x="1035" y="1533"/>
                  </a:cubicBezTo>
                  <a:cubicBezTo>
                    <a:pt x="1024" y="1554"/>
                    <a:pt x="971" y="1549"/>
                    <a:pt x="952" y="1549"/>
                  </a:cubicBezTo>
                  <a:cubicBezTo>
                    <a:pt x="941" y="1549"/>
                    <a:pt x="930" y="1549"/>
                    <a:pt x="918" y="1549"/>
                  </a:cubicBezTo>
                  <a:cubicBezTo>
                    <a:pt x="908" y="1549"/>
                    <a:pt x="895" y="1547"/>
                    <a:pt x="885" y="1540"/>
                  </a:cubicBezTo>
                  <a:cubicBezTo>
                    <a:pt x="884" y="1539"/>
                    <a:pt x="884" y="1539"/>
                    <a:pt x="884" y="1539"/>
                  </a:cubicBezTo>
                  <a:cubicBezTo>
                    <a:pt x="883" y="1538"/>
                    <a:pt x="883" y="1538"/>
                    <a:pt x="883" y="1538"/>
                  </a:cubicBezTo>
                  <a:cubicBezTo>
                    <a:pt x="882" y="1537"/>
                    <a:pt x="882" y="1537"/>
                    <a:pt x="882" y="1536"/>
                  </a:cubicBezTo>
                  <a:cubicBezTo>
                    <a:pt x="882" y="1536"/>
                    <a:pt x="882" y="1536"/>
                    <a:pt x="881" y="1536"/>
                  </a:cubicBezTo>
                  <a:cubicBezTo>
                    <a:pt x="881" y="1534"/>
                    <a:pt x="880" y="1533"/>
                    <a:pt x="880" y="1532"/>
                  </a:cubicBezTo>
                  <a:cubicBezTo>
                    <a:pt x="879" y="1530"/>
                    <a:pt x="879" y="1529"/>
                    <a:pt x="879" y="1527"/>
                  </a:cubicBezTo>
                  <a:cubicBezTo>
                    <a:pt x="879" y="1525"/>
                    <a:pt x="879" y="1525"/>
                    <a:pt x="879" y="1525"/>
                  </a:cubicBezTo>
                  <a:cubicBezTo>
                    <a:pt x="880" y="1523"/>
                    <a:pt x="880" y="1520"/>
                    <a:pt x="880" y="1518"/>
                  </a:cubicBezTo>
                  <a:cubicBezTo>
                    <a:pt x="880" y="1517"/>
                    <a:pt x="880" y="1517"/>
                    <a:pt x="880" y="1517"/>
                  </a:cubicBezTo>
                  <a:cubicBezTo>
                    <a:pt x="881" y="1509"/>
                    <a:pt x="881" y="1499"/>
                    <a:pt x="883" y="1491"/>
                  </a:cubicBezTo>
                  <a:cubicBezTo>
                    <a:pt x="883" y="1488"/>
                    <a:pt x="883" y="1488"/>
                    <a:pt x="883" y="1488"/>
                  </a:cubicBezTo>
                  <a:cubicBezTo>
                    <a:pt x="884" y="1486"/>
                    <a:pt x="885" y="1483"/>
                    <a:pt x="887" y="1481"/>
                  </a:cubicBezTo>
                  <a:cubicBezTo>
                    <a:pt x="889" y="1479"/>
                    <a:pt x="891" y="1478"/>
                    <a:pt x="894" y="1476"/>
                  </a:cubicBezTo>
                  <a:cubicBezTo>
                    <a:pt x="895" y="1476"/>
                    <a:pt x="895" y="1475"/>
                    <a:pt x="896" y="1475"/>
                  </a:cubicBezTo>
                  <a:cubicBezTo>
                    <a:pt x="896" y="1475"/>
                    <a:pt x="897" y="1475"/>
                    <a:pt x="897" y="1474"/>
                  </a:cubicBezTo>
                  <a:cubicBezTo>
                    <a:pt x="898" y="1474"/>
                    <a:pt x="898" y="1474"/>
                    <a:pt x="898" y="1474"/>
                  </a:cubicBezTo>
                  <a:cubicBezTo>
                    <a:pt x="899" y="1473"/>
                    <a:pt x="901" y="1473"/>
                    <a:pt x="902" y="1472"/>
                  </a:cubicBezTo>
                  <a:cubicBezTo>
                    <a:pt x="903" y="1472"/>
                    <a:pt x="903" y="1472"/>
                    <a:pt x="904" y="1472"/>
                  </a:cubicBezTo>
                  <a:cubicBezTo>
                    <a:pt x="905" y="1471"/>
                    <a:pt x="907" y="1471"/>
                    <a:pt x="908" y="1471"/>
                  </a:cubicBezTo>
                  <a:cubicBezTo>
                    <a:pt x="909" y="1471"/>
                    <a:pt x="909" y="1470"/>
                    <a:pt x="910" y="1470"/>
                  </a:cubicBezTo>
                  <a:cubicBezTo>
                    <a:pt x="911" y="1470"/>
                    <a:pt x="912" y="1470"/>
                    <a:pt x="912" y="1470"/>
                  </a:cubicBezTo>
                  <a:cubicBezTo>
                    <a:pt x="916" y="1468"/>
                    <a:pt x="920" y="1468"/>
                    <a:pt x="925" y="1468"/>
                  </a:cubicBezTo>
                  <a:cubicBezTo>
                    <a:pt x="928" y="1468"/>
                    <a:pt x="928" y="1468"/>
                    <a:pt x="928" y="1468"/>
                  </a:cubicBezTo>
                  <a:cubicBezTo>
                    <a:pt x="932" y="1468"/>
                    <a:pt x="937" y="1468"/>
                    <a:pt x="941" y="1468"/>
                  </a:cubicBezTo>
                  <a:cubicBezTo>
                    <a:pt x="997" y="1468"/>
                    <a:pt x="997" y="1468"/>
                    <a:pt x="997" y="1468"/>
                  </a:cubicBezTo>
                  <a:cubicBezTo>
                    <a:pt x="998" y="1468"/>
                    <a:pt x="999" y="1468"/>
                    <a:pt x="1001" y="1468"/>
                  </a:cubicBezTo>
                  <a:cubicBezTo>
                    <a:pt x="1002" y="1468"/>
                    <a:pt x="1002" y="1468"/>
                    <a:pt x="1002" y="1468"/>
                  </a:cubicBezTo>
                  <a:cubicBezTo>
                    <a:pt x="1003" y="1468"/>
                    <a:pt x="1005" y="1468"/>
                    <a:pt x="1006" y="1468"/>
                  </a:cubicBezTo>
                  <a:cubicBezTo>
                    <a:pt x="1018" y="1470"/>
                    <a:pt x="1030" y="1473"/>
                    <a:pt x="1034" y="1483"/>
                  </a:cubicBezTo>
                  <a:cubicBezTo>
                    <a:pt x="1035" y="1483"/>
                    <a:pt x="1035" y="1484"/>
                    <a:pt x="1035" y="1485"/>
                  </a:cubicBezTo>
                  <a:cubicBezTo>
                    <a:pt x="1036" y="1485"/>
                    <a:pt x="1036" y="1485"/>
                    <a:pt x="1036" y="1485"/>
                  </a:cubicBezTo>
                  <a:cubicBezTo>
                    <a:pt x="1039" y="1497"/>
                    <a:pt x="1036" y="1512"/>
                    <a:pt x="1037" y="1524"/>
                  </a:cubicBezTo>
                  <a:close/>
                  <a:moveTo>
                    <a:pt x="231" y="1302"/>
                  </a:moveTo>
                  <a:cubicBezTo>
                    <a:pt x="172" y="1302"/>
                    <a:pt x="123" y="1254"/>
                    <a:pt x="123" y="1195"/>
                  </a:cubicBezTo>
                  <a:cubicBezTo>
                    <a:pt x="123" y="222"/>
                    <a:pt x="123" y="222"/>
                    <a:pt x="123" y="222"/>
                  </a:cubicBezTo>
                  <a:cubicBezTo>
                    <a:pt x="123" y="162"/>
                    <a:pt x="172" y="115"/>
                    <a:pt x="231" y="115"/>
                  </a:cubicBezTo>
                  <a:cubicBezTo>
                    <a:pt x="1818" y="115"/>
                    <a:pt x="1818" y="115"/>
                    <a:pt x="1818" y="115"/>
                  </a:cubicBezTo>
                  <a:cubicBezTo>
                    <a:pt x="1877" y="115"/>
                    <a:pt x="1925" y="162"/>
                    <a:pt x="1925" y="222"/>
                  </a:cubicBezTo>
                  <a:cubicBezTo>
                    <a:pt x="1925" y="1195"/>
                    <a:pt x="1925" y="1195"/>
                    <a:pt x="1925" y="1195"/>
                  </a:cubicBezTo>
                  <a:cubicBezTo>
                    <a:pt x="1925" y="1254"/>
                    <a:pt x="1877" y="1302"/>
                    <a:pt x="1818" y="1302"/>
                  </a:cubicBezTo>
                  <a:cubicBezTo>
                    <a:pt x="231" y="1302"/>
                    <a:pt x="231" y="1302"/>
                    <a:pt x="231" y="1302"/>
                  </a:cubicBezTo>
                  <a:close/>
                  <a:moveTo>
                    <a:pt x="1883" y="1533"/>
                  </a:moveTo>
                  <a:cubicBezTo>
                    <a:pt x="1883" y="1536"/>
                    <a:pt x="1882" y="1538"/>
                    <a:pt x="1880" y="1540"/>
                  </a:cubicBezTo>
                  <a:cubicBezTo>
                    <a:pt x="1879" y="1540"/>
                    <a:pt x="1879" y="1540"/>
                    <a:pt x="1879" y="1540"/>
                  </a:cubicBezTo>
                  <a:cubicBezTo>
                    <a:pt x="1879" y="1541"/>
                    <a:pt x="1879" y="1541"/>
                    <a:pt x="1878" y="1541"/>
                  </a:cubicBezTo>
                  <a:cubicBezTo>
                    <a:pt x="1878" y="1541"/>
                    <a:pt x="1878" y="1541"/>
                    <a:pt x="1877" y="1542"/>
                  </a:cubicBezTo>
                  <a:cubicBezTo>
                    <a:pt x="1877" y="1542"/>
                    <a:pt x="1876" y="1542"/>
                    <a:pt x="1876" y="1543"/>
                  </a:cubicBezTo>
                  <a:cubicBezTo>
                    <a:pt x="1875" y="1543"/>
                    <a:pt x="1875" y="1543"/>
                    <a:pt x="1874" y="1543"/>
                  </a:cubicBezTo>
                  <a:cubicBezTo>
                    <a:pt x="1863" y="1548"/>
                    <a:pt x="1849" y="1547"/>
                    <a:pt x="1837" y="1547"/>
                  </a:cubicBezTo>
                  <a:cubicBezTo>
                    <a:pt x="1777" y="1547"/>
                    <a:pt x="1777" y="1547"/>
                    <a:pt x="1777" y="1547"/>
                  </a:cubicBezTo>
                  <a:cubicBezTo>
                    <a:pt x="1765" y="1547"/>
                    <a:pt x="1753" y="1545"/>
                    <a:pt x="1742" y="1540"/>
                  </a:cubicBezTo>
                  <a:cubicBezTo>
                    <a:pt x="1738" y="1538"/>
                    <a:pt x="1734" y="1536"/>
                    <a:pt x="1731" y="1533"/>
                  </a:cubicBezTo>
                  <a:cubicBezTo>
                    <a:pt x="1728" y="1530"/>
                    <a:pt x="1725" y="1528"/>
                    <a:pt x="1723" y="1525"/>
                  </a:cubicBezTo>
                  <a:cubicBezTo>
                    <a:pt x="1721" y="1520"/>
                    <a:pt x="1721" y="1520"/>
                    <a:pt x="1721" y="1520"/>
                  </a:cubicBezTo>
                  <a:cubicBezTo>
                    <a:pt x="1715" y="1509"/>
                    <a:pt x="1706" y="1498"/>
                    <a:pt x="1701" y="1486"/>
                  </a:cubicBezTo>
                  <a:cubicBezTo>
                    <a:pt x="1697" y="1478"/>
                    <a:pt x="1701" y="1474"/>
                    <a:pt x="1708" y="1471"/>
                  </a:cubicBezTo>
                  <a:cubicBezTo>
                    <a:pt x="1710" y="1470"/>
                    <a:pt x="1712" y="1468"/>
                    <a:pt x="1715" y="1468"/>
                  </a:cubicBezTo>
                  <a:cubicBezTo>
                    <a:pt x="1719" y="1467"/>
                    <a:pt x="1724" y="1466"/>
                    <a:pt x="1729" y="1466"/>
                  </a:cubicBezTo>
                  <a:cubicBezTo>
                    <a:pt x="1737" y="1466"/>
                    <a:pt x="1737" y="1466"/>
                    <a:pt x="1737" y="1466"/>
                  </a:cubicBezTo>
                  <a:cubicBezTo>
                    <a:pt x="1754" y="1466"/>
                    <a:pt x="1769" y="1466"/>
                    <a:pt x="1785" y="1466"/>
                  </a:cubicBezTo>
                  <a:cubicBezTo>
                    <a:pt x="1786" y="1466"/>
                    <a:pt x="1786" y="1466"/>
                    <a:pt x="1786" y="1466"/>
                  </a:cubicBezTo>
                  <a:cubicBezTo>
                    <a:pt x="1801" y="1466"/>
                    <a:pt x="1801" y="1466"/>
                    <a:pt x="1801" y="1466"/>
                  </a:cubicBezTo>
                  <a:cubicBezTo>
                    <a:pt x="1807" y="1466"/>
                    <a:pt x="1813" y="1466"/>
                    <a:pt x="1818" y="1467"/>
                  </a:cubicBezTo>
                  <a:cubicBezTo>
                    <a:pt x="1821" y="1468"/>
                    <a:pt x="1825" y="1470"/>
                    <a:pt x="1828" y="1471"/>
                  </a:cubicBezTo>
                  <a:cubicBezTo>
                    <a:pt x="1829" y="1471"/>
                    <a:pt x="1829" y="1471"/>
                    <a:pt x="1830" y="1471"/>
                  </a:cubicBezTo>
                  <a:cubicBezTo>
                    <a:pt x="1830" y="1472"/>
                    <a:pt x="1830" y="1472"/>
                    <a:pt x="1831" y="1472"/>
                  </a:cubicBezTo>
                  <a:cubicBezTo>
                    <a:pt x="1832" y="1472"/>
                    <a:pt x="1832" y="1472"/>
                    <a:pt x="1832" y="1472"/>
                  </a:cubicBezTo>
                  <a:cubicBezTo>
                    <a:pt x="1838" y="1474"/>
                    <a:pt x="1842" y="1476"/>
                    <a:pt x="1846" y="1478"/>
                  </a:cubicBezTo>
                  <a:cubicBezTo>
                    <a:pt x="1849" y="1481"/>
                    <a:pt x="1852" y="1483"/>
                    <a:pt x="1854" y="1486"/>
                  </a:cubicBezTo>
                  <a:cubicBezTo>
                    <a:pt x="1867" y="1504"/>
                    <a:pt x="1867" y="1504"/>
                    <a:pt x="1867" y="1504"/>
                  </a:cubicBezTo>
                  <a:cubicBezTo>
                    <a:pt x="1870" y="1509"/>
                    <a:pt x="1877" y="1517"/>
                    <a:pt x="1880" y="1524"/>
                  </a:cubicBezTo>
                  <a:cubicBezTo>
                    <a:pt x="1882" y="1527"/>
                    <a:pt x="1883" y="1530"/>
                    <a:pt x="1883" y="1533"/>
                  </a:cubicBezTo>
                  <a:close/>
                  <a:moveTo>
                    <a:pt x="1121" y="1536"/>
                  </a:moveTo>
                  <a:cubicBezTo>
                    <a:pt x="1121" y="1536"/>
                    <a:pt x="1120" y="1536"/>
                    <a:pt x="1120" y="1534"/>
                  </a:cubicBezTo>
                  <a:cubicBezTo>
                    <a:pt x="1118" y="1532"/>
                    <a:pt x="1117" y="1529"/>
                    <a:pt x="1116" y="1526"/>
                  </a:cubicBezTo>
                  <a:cubicBezTo>
                    <a:pt x="1116" y="1523"/>
                    <a:pt x="1116" y="1523"/>
                    <a:pt x="1116" y="1523"/>
                  </a:cubicBezTo>
                  <a:cubicBezTo>
                    <a:pt x="1116" y="1521"/>
                    <a:pt x="1116" y="1519"/>
                    <a:pt x="1116" y="1517"/>
                  </a:cubicBezTo>
                  <a:cubicBezTo>
                    <a:pt x="1115" y="1509"/>
                    <a:pt x="1113" y="1499"/>
                    <a:pt x="1114" y="1490"/>
                  </a:cubicBezTo>
                  <a:cubicBezTo>
                    <a:pt x="1114" y="1488"/>
                    <a:pt x="1114" y="1488"/>
                    <a:pt x="1114" y="1488"/>
                  </a:cubicBezTo>
                  <a:cubicBezTo>
                    <a:pt x="1113" y="1485"/>
                    <a:pt x="1114" y="1482"/>
                    <a:pt x="1116" y="1480"/>
                  </a:cubicBezTo>
                  <a:cubicBezTo>
                    <a:pt x="1118" y="1478"/>
                    <a:pt x="1120" y="1476"/>
                    <a:pt x="1124" y="1474"/>
                  </a:cubicBezTo>
                  <a:cubicBezTo>
                    <a:pt x="1127" y="1472"/>
                    <a:pt x="1131" y="1471"/>
                    <a:pt x="1135" y="1470"/>
                  </a:cubicBezTo>
                  <a:cubicBezTo>
                    <a:pt x="1137" y="1470"/>
                    <a:pt x="1137" y="1470"/>
                    <a:pt x="1137" y="1470"/>
                  </a:cubicBezTo>
                  <a:cubicBezTo>
                    <a:pt x="1139" y="1468"/>
                    <a:pt x="1141" y="1468"/>
                    <a:pt x="1142" y="1468"/>
                  </a:cubicBezTo>
                  <a:cubicBezTo>
                    <a:pt x="1143" y="1468"/>
                    <a:pt x="1144" y="1468"/>
                    <a:pt x="1145" y="1468"/>
                  </a:cubicBezTo>
                  <a:cubicBezTo>
                    <a:pt x="1152" y="1467"/>
                    <a:pt x="1160" y="1467"/>
                    <a:pt x="1169" y="1467"/>
                  </a:cubicBezTo>
                  <a:cubicBezTo>
                    <a:pt x="1223" y="1467"/>
                    <a:pt x="1223" y="1467"/>
                    <a:pt x="1223" y="1467"/>
                  </a:cubicBezTo>
                  <a:cubicBezTo>
                    <a:pt x="1226" y="1467"/>
                    <a:pt x="1230" y="1467"/>
                    <a:pt x="1233" y="1468"/>
                  </a:cubicBezTo>
                  <a:cubicBezTo>
                    <a:pt x="1247" y="1470"/>
                    <a:pt x="1264" y="1474"/>
                    <a:pt x="1266" y="1487"/>
                  </a:cubicBezTo>
                  <a:cubicBezTo>
                    <a:pt x="1270" y="1499"/>
                    <a:pt x="1271" y="1512"/>
                    <a:pt x="1273" y="1524"/>
                  </a:cubicBezTo>
                  <a:cubicBezTo>
                    <a:pt x="1274" y="1526"/>
                    <a:pt x="1274" y="1526"/>
                    <a:pt x="1274" y="1526"/>
                  </a:cubicBezTo>
                  <a:cubicBezTo>
                    <a:pt x="1274" y="1528"/>
                    <a:pt x="1274" y="1531"/>
                    <a:pt x="1273" y="1533"/>
                  </a:cubicBezTo>
                  <a:cubicBezTo>
                    <a:pt x="1273" y="1533"/>
                    <a:pt x="1273" y="1534"/>
                    <a:pt x="1272" y="1534"/>
                  </a:cubicBezTo>
                  <a:cubicBezTo>
                    <a:pt x="1269" y="1541"/>
                    <a:pt x="1263" y="1544"/>
                    <a:pt x="1254" y="1546"/>
                  </a:cubicBezTo>
                  <a:cubicBezTo>
                    <a:pt x="1253" y="1546"/>
                    <a:pt x="1253" y="1546"/>
                    <a:pt x="1252" y="1546"/>
                  </a:cubicBezTo>
                  <a:cubicBezTo>
                    <a:pt x="1251" y="1547"/>
                    <a:pt x="1251" y="1547"/>
                    <a:pt x="1250" y="1547"/>
                  </a:cubicBezTo>
                  <a:cubicBezTo>
                    <a:pt x="1249" y="1547"/>
                    <a:pt x="1249" y="1547"/>
                    <a:pt x="1248" y="1547"/>
                  </a:cubicBezTo>
                  <a:cubicBezTo>
                    <a:pt x="1247" y="1547"/>
                    <a:pt x="1245" y="1548"/>
                    <a:pt x="1244" y="1548"/>
                  </a:cubicBezTo>
                  <a:cubicBezTo>
                    <a:pt x="1225" y="1550"/>
                    <a:pt x="1204" y="1548"/>
                    <a:pt x="1194" y="1548"/>
                  </a:cubicBezTo>
                  <a:cubicBezTo>
                    <a:pt x="1159" y="1548"/>
                    <a:pt x="1159" y="1548"/>
                    <a:pt x="1159" y="1548"/>
                  </a:cubicBezTo>
                  <a:cubicBezTo>
                    <a:pt x="1156" y="1548"/>
                    <a:pt x="1154" y="1548"/>
                    <a:pt x="1151" y="1548"/>
                  </a:cubicBezTo>
                  <a:cubicBezTo>
                    <a:pt x="1149" y="1548"/>
                    <a:pt x="1147" y="1547"/>
                    <a:pt x="1145" y="1547"/>
                  </a:cubicBezTo>
                  <a:cubicBezTo>
                    <a:pt x="1144" y="1547"/>
                    <a:pt x="1144" y="1547"/>
                    <a:pt x="1144" y="1547"/>
                  </a:cubicBezTo>
                  <a:cubicBezTo>
                    <a:pt x="1143" y="1547"/>
                    <a:pt x="1143" y="1547"/>
                    <a:pt x="1143" y="1547"/>
                  </a:cubicBezTo>
                  <a:cubicBezTo>
                    <a:pt x="1141" y="1546"/>
                    <a:pt x="1139" y="1546"/>
                    <a:pt x="1137" y="1545"/>
                  </a:cubicBezTo>
                  <a:cubicBezTo>
                    <a:pt x="1135" y="1545"/>
                    <a:pt x="1135" y="1544"/>
                    <a:pt x="1134" y="1544"/>
                  </a:cubicBezTo>
                  <a:cubicBezTo>
                    <a:pt x="1132" y="1543"/>
                    <a:pt x="1131" y="1543"/>
                    <a:pt x="1129" y="1542"/>
                  </a:cubicBezTo>
                  <a:cubicBezTo>
                    <a:pt x="1127" y="1541"/>
                    <a:pt x="1125" y="1539"/>
                    <a:pt x="1123" y="1538"/>
                  </a:cubicBezTo>
                  <a:cubicBezTo>
                    <a:pt x="1122" y="1537"/>
                    <a:pt x="1122" y="1537"/>
                    <a:pt x="1122" y="1537"/>
                  </a:cubicBezTo>
                  <a:lnTo>
                    <a:pt x="1121" y="1536"/>
                  </a:lnTo>
                  <a:close/>
                  <a:moveTo>
                    <a:pt x="1131" y="1673"/>
                  </a:moveTo>
                  <a:cubicBezTo>
                    <a:pt x="1128" y="1669"/>
                    <a:pt x="1127" y="1665"/>
                    <a:pt x="1126" y="1662"/>
                  </a:cubicBezTo>
                  <a:cubicBezTo>
                    <a:pt x="1126" y="1657"/>
                    <a:pt x="1126" y="1657"/>
                    <a:pt x="1126" y="1657"/>
                  </a:cubicBezTo>
                  <a:cubicBezTo>
                    <a:pt x="1125" y="1643"/>
                    <a:pt x="1124" y="1629"/>
                    <a:pt x="1123" y="1616"/>
                  </a:cubicBezTo>
                  <a:cubicBezTo>
                    <a:pt x="1123" y="1615"/>
                    <a:pt x="1123" y="1615"/>
                    <a:pt x="1123" y="1615"/>
                  </a:cubicBezTo>
                  <a:cubicBezTo>
                    <a:pt x="1123" y="1614"/>
                    <a:pt x="1123" y="1613"/>
                    <a:pt x="1123" y="1612"/>
                  </a:cubicBezTo>
                  <a:cubicBezTo>
                    <a:pt x="1126" y="1583"/>
                    <a:pt x="1188" y="1590"/>
                    <a:pt x="1208" y="1590"/>
                  </a:cubicBezTo>
                  <a:cubicBezTo>
                    <a:pt x="1231" y="1590"/>
                    <a:pt x="1275" y="1585"/>
                    <a:pt x="1288" y="1608"/>
                  </a:cubicBezTo>
                  <a:cubicBezTo>
                    <a:pt x="1290" y="1610"/>
                    <a:pt x="1292" y="1612"/>
                    <a:pt x="1292" y="1614"/>
                  </a:cubicBezTo>
                  <a:cubicBezTo>
                    <a:pt x="1293" y="1617"/>
                    <a:pt x="1293" y="1617"/>
                    <a:pt x="1293" y="1617"/>
                  </a:cubicBezTo>
                  <a:cubicBezTo>
                    <a:pt x="1294" y="1624"/>
                    <a:pt x="1295" y="1630"/>
                    <a:pt x="1297" y="1638"/>
                  </a:cubicBezTo>
                  <a:cubicBezTo>
                    <a:pt x="1301" y="1661"/>
                    <a:pt x="1301" y="1661"/>
                    <a:pt x="1301" y="1661"/>
                  </a:cubicBezTo>
                  <a:cubicBezTo>
                    <a:pt x="1302" y="1665"/>
                    <a:pt x="1301" y="1669"/>
                    <a:pt x="1300" y="1672"/>
                  </a:cubicBezTo>
                  <a:cubicBezTo>
                    <a:pt x="1299" y="1674"/>
                    <a:pt x="1297" y="1676"/>
                    <a:pt x="1295" y="1678"/>
                  </a:cubicBezTo>
                  <a:cubicBezTo>
                    <a:pt x="1295" y="1678"/>
                    <a:pt x="1294" y="1679"/>
                    <a:pt x="1293" y="1680"/>
                  </a:cubicBezTo>
                  <a:cubicBezTo>
                    <a:pt x="1293" y="1680"/>
                    <a:pt x="1292" y="1680"/>
                    <a:pt x="1292" y="1681"/>
                  </a:cubicBezTo>
                  <a:cubicBezTo>
                    <a:pt x="1291" y="1681"/>
                    <a:pt x="1291" y="1681"/>
                    <a:pt x="1291" y="1681"/>
                  </a:cubicBezTo>
                  <a:cubicBezTo>
                    <a:pt x="1290" y="1682"/>
                    <a:pt x="1288" y="1682"/>
                    <a:pt x="1286" y="1683"/>
                  </a:cubicBezTo>
                  <a:cubicBezTo>
                    <a:pt x="1285" y="1684"/>
                    <a:pt x="1284" y="1684"/>
                    <a:pt x="1283" y="1685"/>
                  </a:cubicBezTo>
                  <a:cubicBezTo>
                    <a:pt x="1282" y="1685"/>
                    <a:pt x="1281" y="1685"/>
                    <a:pt x="1281" y="1685"/>
                  </a:cubicBezTo>
                  <a:cubicBezTo>
                    <a:pt x="1280" y="1686"/>
                    <a:pt x="1279" y="1686"/>
                    <a:pt x="1278" y="1686"/>
                  </a:cubicBezTo>
                  <a:cubicBezTo>
                    <a:pt x="1277" y="1686"/>
                    <a:pt x="1276" y="1687"/>
                    <a:pt x="1275" y="1687"/>
                  </a:cubicBezTo>
                  <a:cubicBezTo>
                    <a:pt x="1274" y="1687"/>
                    <a:pt x="1274" y="1687"/>
                    <a:pt x="1274" y="1687"/>
                  </a:cubicBezTo>
                  <a:cubicBezTo>
                    <a:pt x="1272" y="1687"/>
                    <a:pt x="1270" y="1688"/>
                    <a:pt x="1268" y="1688"/>
                  </a:cubicBezTo>
                  <a:cubicBezTo>
                    <a:pt x="1265" y="1688"/>
                    <a:pt x="1263" y="1688"/>
                    <a:pt x="1261" y="1688"/>
                  </a:cubicBezTo>
                  <a:cubicBezTo>
                    <a:pt x="1260" y="1688"/>
                    <a:pt x="1260" y="1688"/>
                    <a:pt x="1260" y="1688"/>
                  </a:cubicBezTo>
                  <a:cubicBezTo>
                    <a:pt x="1232" y="1688"/>
                    <a:pt x="1204" y="1688"/>
                    <a:pt x="1175" y="1689"/>
                  </a:cubicBezTo>
                  <a:cubicBezTo>
                    <a:pt x="1172" y="1689"/>
                    <a:pt x="1169" y="1688"/>
                    <a:pt x="1166" y="1688"/>
                  </a:cubicBezTo>
                  <a:cubicBezTo>
                    <a:pt x="1165" y="1688"/>
                    <a:pt x="1164" y="1688"/>
                    <a:pt x="1164" y="1688"/>
                  </a:cubicBezTo>
                  <a:cubicBezTo>
                    <a:pt x="1161" y="1687"/>
                    <a:pt x="1159" y="1687"/>
                    <a:pt x="1157" y="1687"/>
                  </a:cubicBezTo>
                  <a:cubicBezTo>
                    <a:pt x="1156" y="1686"/>
                    <a:pt x="1156" y="1686"/>
                    <a:pt x="1156" y="1686"/>
                  </a:cubicBezTo>
                  <a:cubicBezTo>
                    <a:pt x="1153" y="1686"/>
                    <a:pt x="1151" y="1685"/>
                    <a:pt x="1149" y="1684"/>
                  </a:cubicBezTo>
                  <a:cubicBezTo>
                    <a:pt x="1148" y="1684"/>
                    <a:pt x="1147" y="1683"/>
                    <a:pt x="1147" y="1683"/>
                  </a:cubicBezTo>
                  <a:cubicBezTo>
                    <a:pt x="1145" y="1683"/>
                    <a:pt x="1144" y="1682"/>
                    <a:pt x="1143" y="1681"/>
                  </a:cubicBezTo>
                  <a:cubicBezTo>
                    <a:pt x="1142" y="1681"/>
                    <a:pt x="1142" y="1681"/>
                    <a:pt x="1142" y="1681"/>
                  </a:cubicBezTo>
                  <a:cubicBezTo>
                    <a:pt x="1138" y="1679"/>
                    <a:pt x="1133" y="1676"/>
                    <a:pt x="1131" y="1673"/>
                  </a:cubicBezTo>
                  <a:close/>
                  <a:moveTo>
                    <a:pt x="1333" y="1839"/>
                  </a:moveTo>
                  <a:cubicBezTo>
                    <a:pt x="1331" y="1843"/>
                    <a:pt x="1328" y="1846"/>
                    <a:pt x="1324" y="1849"/>
                  </a:cubicBezTo>
                  <a:cubicBezTo>
                    <a:pt x="1320" y="1852"/>
                    <a:pt x="1315" y="1855"/>
                    <a:pt x="1309" y="1856"/>
                  </a:cubicBezTo>
                  <a:cubicBezTo>
                    <a:pt x="1303" y="1858"/>
                    <a:pt x="1297" y="1859"/>
                    <a:pt x="1290" y="1859"/>
                  </a:cubicBezTo>
                  <a:cubicBezTo>
                    <a:pt x="1271" y="1859"/>
                    <a:pt x="1271" y="1859"/>
                    <a:pt x="1271" y="1859"/>
                  </a:cubicBezTo>
                  <a:cubicBezTo>
                    <a:pt x="1270" y="1859"/>
                    <a:pt x="1270" y="1859"/>
                    <a:pt x="1270" y="1859"/>
                  </a:cubicBezTo>
                  <a:cubicBezTo>
                    <a:pt x="1244" y="1859"/>
                    <a:pt x="1219" y="1859"/>
                    <a:pt x="1193" y="1859"/>
                  </a:cubicBezTo>
                  <a:cubicBezTo>
                    <a:pt x="1190" y="1859"/>
                    <a:pt x="1187" y="1859"/>
                    <a:pt x="1184" y="1859"/>
                  </a:cubicBezTo>
                  <a:cubicBezTo>
                    <a:pt x="1183" y="1859"/>
                    <a:pt x="1183" y="1859"/>
                    <a:pt x="1182" y="1859"/>
                  </a:cubicBezTo>
                  <a:cubicBezTo>
                    <a:pt x="1179" y="1858"/>
                    <a:pt x="1177" y="1858"/>
                    <a:pt x="1174" y="1857"/>
                  </a:cubicBezTo>
                  <a:cubicBezTo>
                    <a:pt x="1174" y="1857"/>
                    <a:pt x="1174" y="1857"/>
                    <a:pt x="1173" y="1857"/>
                  </a:cubicBezTo>
                  <a:cubicBezTo>
                    <a:pt x="1161" y="1854"/>
                    <a:pt x="1150" y="1848"/>
                    <a:pt x="1144" y="1839"/>
                  </a:cubicBezTo>
                  <a:cubicBezTo>
                    <a:pt x="1143" y="1838"/>
                    <a:pt x="1142" y="1836"/>
                    <a:pt x="1142" y="1834"/>
                  </a:cubicBezTo>
                  <a:cubicBezTo>
                    <a:pt x="1141" y="1832"/>
                    <a:pt x="1141" y="1831"/>
                    <a:pt x="1141" y="1830"/>
                  </a:cubicBezTo>
                  <a:cubicBezTo>
                    <a:pt x="1140" y="1829"/>
                    <a:pt x="1140" y="1828"/>
                    <a:pt x="1140" y="1827"/>
                  </a:cubicBezTo>
                  <a:cubicBezTo>
                    <a:pt x="1140" y="1826"/>
                    <a:pt x="1140" y="1826"/>
                    <a:pt x="1140" y="1826"/>
                  </a:cubicBezTo>
                  <a:cubicBezTo>
                    <a:pt x="1139" y="1824"/>
                    <a:pt x="1139" y="1824"/>
                    <a:pt x="1139" y="1824"/>
                  </a:cubicBezTo>
                  <a:cubicBezTo>
                    <a:pt x="1138" y="1811"/>
                    <a:pt x="1137" y="1796"/>
                    <a:pt x="1135" y="1782"/>
                  </a:cubicBezTo>
                  <a:cubicBezTo>
                    <a:pt x="1135" y="1779"/>
                    <a:pt x="1135" y="1777"/>
                    <a:pt x="1135" y="1775"/>
                  </a:cubicBezTo>
                  <a:cubicBezTo>
                    <a:pt x="1134" y="1768"/>
                    <a:pt x="1134" y="1768"/>
                    <a:pt x="1134" y="1768"/>
                  </a:cubicBezTo>
                  <a:cubicBezTo>
                    <a:pt x="1134" y="1766"/>
                    <a:pt x="1134" y="1766"/>
                    <a:pt x="1134" y="1766"/>
                  </a:cubicBezTo>
                  <a:cubicBezTo>
                    <a:pt x="1134" y="1764"/>
                    <a:pt x="1134" y="1763"/>
                    <a:pt x="1135" y="1762"/>
                  </a:cubicBezTo>
                  <a:cubicBezTo>
                    <a:pt x="1135" y="1761"/>
                    <a:pt x="1135" y="1760"/>
                    <a:pt x="1135" y="1760"/>
                  </a:cubicBezTo>
                  <a:cubicBezTo>
                    <a:pt x="1137" y="1759"/>
                    <a:pt x="1137" y="1758"/>
                    <a:pt x="1137" y="1757"/>
                  </a:cubicBezTo>
                  <a:cubicBezTo>
                    <a:pt x="1138" y="1756"/>
                    <a:pt x="1138" y="1756"/>
                    <a:pt x="1138" y="1755"/>
                  </a:cubicBezTo>
                  <a:cubicBezTo>
                    <a:pt x="1139" y="1753"/>
                    <a:pt x="1140" y="1752"/>
                    <a:pt x="1141" y="1751"/>
                  </a:cubicBezTo>
                  <a:cubicBezTo>
                    <a:pt x="1142" y="1750"/>
                    <a:pt x="1143" y="1750"/>
                    <a:pt x="1143" y="1749"/>
                  </a:cubicBezTo>
                  <a:cubicBezTo>
                    <a:pt x="1144" y="1748"/>
                    <a:pt x="1145" y="1748"/>
                    <a:pt x="1146" y="1747"/>
                  </a:cubicBezTo>
                  <a:cubicBezTo>
                    <a:pt x="1147" y="1747"/>
                    <a:pt x="1147" y="1746"/>
                    <a:pt x="1147" y="1746"/>
                  </a:cubicBezTo>
                  <a:cubicBezTo>
                    <a:pt x="1148" y="1746"/>
                    <a:pt x="1148" y="1746"/>
                    <a:pt x="1148" y="1746"/>
                  </a:cubicBezTo>
                  <a:cubicBezTo>
                    <a:pt x="1150" y="1745"/>
                    <a:pt x="1151" y="1744"/>
                    <a:pt x="1153" y="1743"/>
                  </a:cubicBezTo>
                  <a:cubicBezTo>
                    <a:pt x="1154" y="1743"/>
                    <a:pt x="1154" y="1742"/>
                    <a:pt x="1154" y="1742"/>
                  </a:cubicBezTo>
                  <a:cubicBezTo>
                    <a:pt x="1155" y="1742"/>
                    <a:pt x="1155" y="1742"/>
                    <a:pt x="1155" y="1742"/>
                  </a:cubicBezTo>
                  <a:cubicBezTo>
                    <a:pt x="1156" y="1742"/>
                    <a:pt x="1156" y="1742"/>
                    <a:pt x="1157" y="1741"/>
                  </a:cubicBezTo>
                  <a:cubicBezTo>
                    <a:pt x="1158" y="1741"/>
                    <a:pt x="1160" y="1740"/>
                    <a:pt x="1161" y="1740"/>
                  </a:cubicBezTo>
                  <a:cubicBezTo>
                    <a:pt x="1162" y="1740"/>
                    <a:pt x="1163" y="1739"/>
                    <a:pt x="1164" y="1739"/>
                  </a:cubicBezTo>
                  <a:cubicBezTo>
                    <a:pt x="1165" y="1739"/>
                    <a:pt x="1166" y="1739"/>
                    <a:pt x="1166" y="1739"/>
                  </a:cubicBezTo>
                  <a:cubicBezTo>
                    <a:pt x="1170" y="1738"/>
                    <a:pt x="1173" y="1738"/>
                    <a:pt x="1176" y="1738"/>
                  </a:cubicBezTo>
                  <a:cubicBezTo>
                    <a:pt x="1177" y="1738"/>
                    <a:pt x="1177" y="1738"/>
                    <a:pt x="1177" y="1738"/>
                  </a:cubicBezTo>
                  <a:cubicBezTo>
                    <a:pt x="1178" y="1738"/>
                    <a:pt x="1179" y="1738"/>
                    <a:pt x="1180" y="1738"/>
                  </a:cubicBezTo>
                  <a:cubicBezTo>
                    <a:pt x="1184" y="1738"/>
                    <a:pt x="1184" y="1738"/>
                    <a:pt x="1184" y="1738"/>
                  </a:cubicBezTo>
                  <a:cubicBezTo>
                    <a:pt x="1189" y="1737"/>
                    <a:pt x="1193" y="1737"/>
                    <a:pt x="1198" y="1737"/>
                  </a:cubicBezTo>
                  <a:cubicBezTo>
                    <a:pt x="1202" y="1737"/>
                    <a:pt x="1206" y="1737"/>
                    <a:pt x="1209" y="1737"/>
                  </a:cubicBezTo>
                  <a:cubicBezTo>
                    <a:pt x="1246" y="1737"/>
                    <a:pt x="1246" y="1737"/>
                    <a:pt x="1246" y="1737"/>
                  </a:cubicBezTo>
                  <a:cubicBezTo>
                    <a:pt x="1256" y="1737"/>
                    <a:pt x="1267" y="1737"/>
                    <a:pt x="1276" y="1738"/>
                  </a:cubicBezTo>
                  <a:cubicBezTo>
                    <a:pt x="1278" y="1738"/>
                    <a:pt x="1279" y="1738"/>
                    <a:pt x="1281" y="1738"/>
                  </a:cubicBezTo>
                  <a:cubicBezTo>
                    <a:pt x="1282" y="1739"/>
                    <a:pt x="1283" y="1739"/>
                    <a:pt x="1284" y="1739"/>
                  </a:cubicBezTo>
                  <a:cubicBezTo>
                    <a:pt x="1284" y="1739"/>
                    <a:pt x="1285" y="1739"/>
                    <a:pt x="1286" y="1739"/>
                  </a:cubicBezTo>
                  <a:cubicBezTo>
                    <a:pt x="1286" y="1739"/>
                    <a:pt x="1287" y="1739"/>
                    <a:pt x="1287" y="1740"/>
                  </a:cubicBezTo>
                  <a:cubicBezTo>
                    <a:pt x="1288" y="1740"/>
                    <a:pt x="1288" y="1740"/>
                    <a:pt x="1290" y="1740"/>
                  </a:cubicBezTo>
                  <a:cubicBezTo>
                    <a:pt x="1291" y="1740"/>
                    <a:pt x="1293" y="1741"/>
                    <a:pt x="1295" y="1742"/>
                  </a:cubicBezTo>
                  <a:cubicBezTo>
                    <a:pt x="1296" y="1742"/>
                    <a:pt x="1297" y="1742"/>
                    <a:pt x="1298" y="1743"/>
                  </a:cubicBezTo>
                  <a:cubicBezTo>
                    <a:pt x="1299" y="1743"/>
                    <a:pt x="1299" y="1743"/>
                    <a:pt x="1300" y="1744"/>
                  </a:cubicBezTo>
                  <a:cubicBezTo>
                    <a:pt x="1302" y="1744"/>
                    <a:pt x="1303" y="1745"/>
                    <a:pt x="1304" y="1746"/>
                  </a:cubicBezTo>
                  <a:cubicBezTo>
                    <a:pt x="1309" y="1748"/>
                    <a:pt x="1313" y="1751"/>
                    <a:pt x="1316" y="1755"/>
                  </a:cubicBezTo>
                  <a:cubicBezTo>
                    <a:pt x="1320" y="1758"/>
                    <a:pt x="1322" y="1762"/>
                    <a:pt x="1323" y="1766"/>
                  </a:cubicBezTo>
                  <a:cubicBezTo>
                    <a:pt x="1328" y="1790"/>
                    <a:pt x="1328" y="1790"/>
                    <a:pt x="1328" y="1790"/>
                  </a:cubicBezTo>
                  <a:cubicBezTo>
                    <a:pt x="1329" y="1801"/>
                    <a:pt x="1331" y="1810"/>
                    <a:pt x="1333" y="1819"/>
                  </a:cubicBezTo>
                  <a:cubicBezTo>
                    <a:pt x="1334" y="1825"/>
                    <a:pt x="1334" y="1825"/>
                    <a:pt x="1334" y="1825"/>
                  </a:cubicBezTo>
                  <a:cubicBezTo>
                    <a:pt x="1335" y="1830"/>
                    <a:pt x="1335" y="1835"/>
                    <a:pt x="1333" y="1839"/>
                  </a:cubicBezTo>
                  <a:close/>
                  <a:moveTo>
                    <a:pt x="1493" y="1533"/>
                  </a:moveTo>
                  <a:cubicBezTo>
                    <a:pt x="1490" y="1531"/>
                    <a:pt x="1487" y="1528"/>
                    <a:pt x="1486" y="1525"/>
                  </a:cubicBezTo>
                  <a:cubicBezTo>
                    <a:pt x="1484" y="1520"/>
                    <a:pt x="1484" y="1520"/>
                    <a:pt x="1484" y="1520"/>
                  </a:cubicBezTo>
                  <a:cubicBezTo>
                    <a:pt x="1482" y="1513"/>
                    <a:pt x="1479" y="1506"/>
                    <a:pt x="1477" y="1498"/>
                  </a:cubicBezTo>
                  <a:cubicBezTo>
                    <a:pt x="1475" y="1494"/>
                    <a:pt x="1472" y="1489"/>
                    <a:pt x="1472" y="1484"/>
                  </a:cubicBezTo>
                  <a:cubicBezTo>
                    <a:pt x="1472" y="1484"/>
                    <a:pt x="1472" y="1483"/>
                    <a:pt x="1472" y="1482"/>
                  </a:cubicBezTo>
                  <a:cubicBezTo>
                    <a:pt x="1472" y="1481"/>
                    <a:pt x="1472" y="1481"/>
                    <a:pt x="1472" y="1481"/>
                  </a:cubicBezTo>
                  <a:cubicBezTo>
                    <a:pt x="1473" y="1480"/>
                    <a:pt x="1472" y="1480"/>
                    <a:pt x="1473" y="1479"/>
                  </a:cubicBezTo>
                  <a:cubicBezTo>
                    <a:pt x="1479" y="1465"/>
                    <a:pt x="1503" y="1467"/>
                    <a:pt x="1515" y="1467"/>
                  </a:cubicBezTo>
                  <a:cubicBezTo>
                    <a:pt x="1576" y="1466"/>
                    <a:pt x="1576" y="1466"/>
                    <a:pt x="1576" y="1466"/>
                  </a:cubicBezTo>
                  <a:cubicBezTo>
                    <a:pt x="1581" y="1466"/>
                    <a:pt x="1586" y="1467"/>
                    <a:pt x="1591" y="1468"/>
                  </a:cubicBezTo>
                  <a:cubicBezTo>
                    <a:pt x="1593" y="1468"/>
                    <a:pt x="1595" y="1468"/>
                    <a:pt x="1596" y="1470"/>
                  </a:cubicBezTo>
                  <a:cubicBezTo>
                    <a:pt x="1596" y="1470"/>
                    <a:pt x="1597" y="1470"/>
                    <a:pt x="1598" y="1470"/>
                  </a:cubicBezTo>
                  <a:cubicBezTo>
                    <a:pt x="1599" y="1470"/>
                    <a:pt x="1600" y="1471"/>
                    <a:pt x="1600" y="1471"/>
                  </a:cubicBezTo>
                  <a:cubicBezTo>
                    <a:pt x="1602" y="1471"/>
                    <a:pt x="1604" y="1472"/>
                    <a:pt x="1605" y="1473"/>
                  </a:cubicBezTo>
                  <a:cubicBezTo>
                    <a:pt x="1606" y="1473"/>
                    <a:pt x="1606" y="1473"/>
                    <a:pt x="1606" y="1473"/>
                  </a:cubicBezTo>
                  <a:cubicBezTo>
                    <a:pt x="1606" y="1473"/>
                    <a:pt x="1606" y="1473"/>
                    <a:pt x="1607" y="1473"/>
                  </a:cubicBezTo>
                  <a:cubicBezTo>
                    <a:pt x="1608" y="1474"/>
                    <a:pt x="1609" y="1474"/>
                    <a:pt x="1611" y="1475"/>
                  </a:cubicBezTo>
                  <a:cubicBezTo>
                    <a:pt x="1612" y="1476"/>
                    <a:pt x="1613" y="1476"/>
                    <a:pt x="1613" y="1476"/>
                  </a:cubicBezTo>
                  <a:cubicBezTo>
                    <a:pt x="1614" y="1477"/>
                    <a:pt x="1614" y="1477"/>
                    <a:pt x="1615" y="1477"/>
                  </a:cubicBezTo>
                  <a:cubicBezTo>
                    <a:pt x="1615" y="1478"/>
                    <a:pt x="1615" y="1478"/>
                    <a:pt x="1616" y="1478"/>
                  </a:cubicBezTo>
                  <a:cubicBezTo>
                    <a:pt x="1617" y="1479"/>
                    <a:pt x="1617" y="1479"/>
                    <a:pt x="1617" y="1479"/>
                  </a:cubicBezTo>
                  <a:cubicBezTo>
                    <a:pt x="1620" y="1481"/>
                    <a:pt x="1624" y="1484"/>
                    <a:pt x="1625" y="1487"/>
                  </a:cubicBezTo>
                  <a:cubicBezTo>
                    <a:pt x="1631" y="1495"/>
                    <a:pt x="1634" y="1506"/>
                    <a:pt x="1638" y="1514"/>
                  </a:cubicBezTo>
                  <a:cubicBezTo>
                    <a:pt x="1640" y="1519"/>
                    <a:pt x="1644" y="1523"/>
                    <a:pt x="1645" y="1528"/>
                  </a:cubicBezTo>
                  <a:cubicBezTo>
                    <a:pt x="1645" y="1529"/>
                    <a:pt x="1645" y="1529"/>
                    <a:pt x="1645" y="1529"/>
                  </a:cubicBezTo>
                  <a:cubicBezTo>
                    <a:pt x="1646" y="1539"/>
                    <a:pt x="1638" y="1543"/>
                    <a:pt x="1630" y="1545"/>
                  </a:cubicBezTo>
                  <a:cubicBezTo>
                    <a:pt x="1629" y="1545"/>
                    <a:pt x="1629" y="1545"/>
                    <a:pt x="1629" y="1546"/>
                  </a:cubicBezTo>
                  <a:cubicBezTo>
                    <a:pt x="1628" y="1546"/>
                    <a:pt x="1628" y="1546"/>
                    <a:pt x="1627" y="1546"/>
                  </a:cubicBezTo>
                  <a:cubicBezTo>
                    <a:pt x="1626" y="1546"/>
                    <a:pt x="1624" y="1546"/>
                    <a:pt x="1623" y="1547"/>
                  </a:cubicBezTo>
                  <a:cubicBezTo>
                    <a:pt x="1621" y="1547"/>
                    <a:pt x="1621" y="1547"/>
                    <a:pt x="1620" y="1547"/>
                  </a:cubicBezTo>
                  <a:cubicBezTo>
                    <a:pt x="1619" y="1547"/>
                    <a:pt x="1617" y="1547"/>
                    <a:pt x="1616" y="1547"/>
                  </a:cubicBezTo>
                  <a:cubicBezTo>
                    <a:pt x="1615" y="1547"/>
                    <a:pt x="1614" y="1547"/>
                    <a:pt x="1613" y="1547"/>
                  </a:cubicBezTo>
                  <a:cubicBezTo>
                    <a:pt x="1611" y="1547"/>
                    <a:pt x="1611" y="1547"/>
                    <a:pt x="1611" y="1547"/>
                  </a:cubicBezTo>
                  <a:cubicBezTo>
                    <a:pt x="1602" y="1547"/>
                    <a:pt x="1593" y="1547"/>
                    <a:pt x="1583" y="1547"/>
                  </a:cubicBezTo>
                  <a:cubicBezTo>
                    <a:pt x="1568" y="1547"/>
                    <a:pt x="1552" y="1547"/>
                    <a:pt x="1537" y="1547"/>
                  </a:cubicBezTo>
                  <a:cubicBezTo>
                    <a:pt x="1525" y="1547"/>
                    <a:pt x="1514" y="1546"/>
                    <a:pt x="1505" y="1541"/>
                  </a:cubicBezTo>
                  <a:cubicBezTo>
                    <a:pt x="1499" y="1539"/>
                    <a:pt x="1495" y="1537"/>
                    <a:pt x="1493" y="1533"/>
                  </a:cubicBezTo>
                  <a:close/>
                  <a:moveTo>
                    <a:pt x="1544" y="1672"/>
                  </a:moveTo>
                  <a:cubicBezTo>
                    <a:pt x="1541" y="1667"/>
                    <a:pt x="1538" y="1664"/>
                    <a:pt x="1537" y="1661"/>
                  </a:cubicBezTo>
                  <a:cubicBezTo>
                    <a:pt x="1528" y="1638"/>
                    <a:pt x="1528" y="1638"/>
                    <a:pt x="1528" y="1638"/>
                  </a:cubicBezTo>
                  <a:cubicBezTo>
                    <a:pt x="1525" y="1630"/>
                    <a:pt x="1523" y="1624"/>
                    <a:pt x="1520" y="1617"/>
                  </a:cubicBezTo>
                  <a:cubicBezTo>
                    <a:pt x="1519" y="1614"/>
                    <a:pt x="1519" y="1614"/>
                    <a:pt x="1519" y="1614"/>
                  </a:cubicBezTo>
                  <a:cubicBezTo>
                    <a:pt x="1518" y="1610"/>
                    <a:pt x="1518" y="1607"/>
                    <a:pt x="1519" y="1604"/>
                  </a:cubicBezTo>
                  <a:cubicBezTo>
                    <a:pt x="1520" y="1601"/>
                    <a:pt x="1521" y="1600"/>
                    <a:pt x="1523" y="1598"/>
                  </a:cubicBezTo>
                  <a:cubicBezTo>
                    <a:pt x="1523" y="1598"/>
                    <a:pt x="1523" y="1598"/>
                    <a:pt x="1524" y="1597"/>
                  </a:cubicBezTo>
                  <a:cubicBezTo>
                    <a:pt x="1525" y="1596"/>
                    <a:pt x="1525" y="1596"/>
                    <a:pt x="1525" y="1596"/>
                  </a:cubicBezTo>
                  <a:cubicBezTo>
                    <a:pt x="1528" y="1594"/>
                    <a:pt x="1533" y="1592"/>
                    <a:pt x="1537" y="1591"/>
                  </a:cubicBezTo>
                  <a:cubicBezTo>
                    <a:pt x="1541" y="1590"/>
                    <a:pt x="1545" y="1590"/>
                    <a:pt x="1549" y="1589"/>
                  </a:cubicBezTo>
                  <a:cubicBezTo>
                    <a:pt x="1566" y="1588"/>
                    <a:pt x="1583" y="1589"/>
                    <a:pt x="1591" y="1589"/>
                  </a:cubicBezTo>
                  <a:cubicBezTo>
                    <a:pt x="1620" y="1589"/>
                    <a:pt x="1671" y="1583"/>
                    <a:pt x="1688" y="1613"/>
                  </a:cubicBezTo>
                  <a:cubicBezTo>
                    <a:pt x="1688" y="1614"/>
                    <a:pt x="1688" y="1614"/>
                    <a:pt x="1688" y="1614"/>
                  </a:cubicBezTo>
                  <a:cubicBezTo>
                    <a:pt x="1694" y="1626"/>
                    <a:pt x="1700" y="1639"/>
                    <a:pt x="1706" y="1651"/>
                  </a:cubicBezTo>
                  <a:cubicBezTo>
                    <a:pt x="1708" y="1655"/>
                    <a:pt x="1711" y="1659"/>
                    <a:pt x="1712" y="1664"/>
                  </a:cubicBezTo>
                  <a:cubicBezTo>
                    <a:pt x="1712" y="1665"/>
                    <a:pt x="1712" y="1667"/>
                    <a:pt x="1712" y="1667"/>
                  </a:cubicBezTo>
                  <a:cubicBezTo>
                    <a:pt x="1712" y="1669"/>
                    <a:pt x="1712" y="1670"/>
                    <a:pt x="1712" y="1671"/>
                  </a:cubicBezTo>
                  <a:cubicBezTo>
                    <a:pt x="1712" y="1672"/>
                    <a:pt x="1712" y="1672"/>
                    <a:pt x="1712" y="1672"/>
                  </a:cubicBezTo>
                  <a:cubicBezTo>
                    <a:pt x="1712" y="1673"/>
                    <a:pt x="1711" y="1674"/>
                    <a:pt x="1710" y="1675"/>
                  </a:cubicBezTo>
                  <a:cubicBezTo>
                    <a:pt x="1710" y="1676"/>
                    <a:pt x="1710" y="1676"/>
                    <a:pt x="1710" y="1676"/>
                  </a:cubicBezTo>
                  <a:cubicBezTo>
                    <a:pt x="1709" y="1677"/>
                    <a:pt x="1708" y="1678"/>
                    <a:pt x="1707" y="1679"/>
                  </a:cubicBezTo>
                  <a:cubicBezTo>
                    <a:pt x="1706" y="1680"/>
                    <a:pt x="1706" y="1680"/>
                    <a:pt x="1706" y="1680"/>
                  </a:cubicBezTo>
                  <a:cubicBezTo>
                    <a:pt x="1705" y="1681"/>
                    <a:pt x="1704" y="1681"/>
                    <a:pt x="1704" y="1681"/>
                  </a:cubicBezTo>
                  <a:cubicBezTo>
                    <a:pt x="1701" y="1683"/>
                    <a:pt x="1699" y="1684"/>
                    <a:pt x="1695" y="1685"/>
                  </a:cubicBezTo>
                  <a:cubicBezTo>
                    <a:pt x="1695" y="1685"/>
                    <a:pt x="1694" y="1686"/>
                    <a:pt x="1693" y="1686"/>
                  </a:cubicBezTo>
                  <a:cubicBezTo>
                    <a:pt x="1691" y="1686"/>
                    <a:pt x="1690" y="1686"/>
                    <a:pt x="1689" y="1687"/>
                  </a:cubicBezTo>
                  <a:cubicBezTo>
                    <a:pt x="1688" y="1687"/>
                    <a:pt x="1688" y="1687"/>
                    <a:pt x="1687" y="1687"/>
                  </a:cubicBezTo>
                  <a:cubicBezTo>
                    <a:pt x="1686" y="1687"/>
                    <a:pt x="1686" y="1687"/>
                    <a:pt x="1686" y="1687"/>
                  </a:cubicBezTo>
                  <a:cubicBezTo>
                    <a:pt x="1656" y="1690"/>
                    <a:pt x="1624" y="1687"/>
                    <a:pt x="1593" y="1688"/>
                  </a:cubicBezTo>
                  <a:cubicBezTo>
                    <a:pt x="1589" y="1688"/>
                    <a:pt x="1586" y="1687"/>
                    <a:pt x="1583" y="1687"/>
                  </a:cubicBezTo>
                  <a:cubicBezTo>
                    <a:pt x="1572" y="1686"/>
                    <a:pt x="1560" y="1682"/>
                    <a:pt x="1551" y="1676"/>
                  </a:cubicBezTo>
                  <a:cubicBezTo>
                    <a:pt x="1548" y="1675"/>
                    <a:pt x="1546" y="1673"/>
                    <a:pt x="1544" y="1672"/>
                  </a:cubicBezTo>
                  <a:close/>
                  <a:moveTo>
                    <a:pt x="1795" y="1838"/>
                  </a:moveTo>
                  <a:cubicBezTo>
                    <a:pt x="1795" y="1839"/>
                    <a:pt x="1794" y="1839"/>
                    <a:pt x="1794" y="1840"/>
                  </a:cubicBezTo>
                  <a:cubicBezTo>
                    <a:pt x="1794" y="1841"/>
                    <a:pt x="1794" y="1841"/>
                    <a:pt x="1794" y="1842"/>
                  </a:cubicBezTo>
                  <a:cubicBezTo>
                    <a:pt x="1793" y="1843"/>
                    <a:pt x="1793" y="1844"/>
                    <a:pt x="1792" y="1845"/>
                  </a:cubicBezTo>
                  <a:cubicBezTo>
                    <a:pt x="1792" y="1845"/>
                    <a:pt x="1792" y="1845"/>
                    <a:pt x="1792" y="1846"/>
                  </a:cubicBezTo>
                  <a:cubicBezTo>
                    <a:pt x="1791" y="1846"/>
                    <a:pt x="1791" y="1847"/>
                    <a:pt x="1790" y="1847"/>
                  </a:cubicBezTo>
                  <a:cubicBezTo>
                    <a:pt x="1790" y="1847"/>
                    <a:pt x="1790" y="1848"/>
                    <a:pt x="1789" y="1848"/>
                  </a:cubicBezTo>
                  <a:cubicBezTo>
                    <a:pt x="1789" y="1848"/>
                    <a:pt x="1789" y="1848"/>
                    <a:pt x="1789" y="1849"/>
                  </a:cubicBezTo>
                  <a:cubicBezTo>
                    <a:pt x="1783" y="1854"/>
                    <a:pt x="1776" y="1856"/>
                    <a:pt x="1768" y="1857"/>
                  </a:cubicBezTo>
                  <a:cubicBezTo>
                    <a:pt x="1767" y="1857"/>
                    <a:pt x="1767" y="1857"/>
                    <a:pt x="1767" y="1857"/>
                  </a:cubicBezTo>
                  <a:cubicBezTo>
                    <a:pt x="1764" y="1858"/>
                    <a:pt x="1761" y="1858"/>
                    <a:pt x="1758" y="1858"/>
                  </a:cubicBezTo>
                  <a:cubicBezTo>
                    <a:pt x="1755" y="1858"/>
                    <a:pt x="1755" y="1858"/>
                    <a:pt x="1755" y="1858"/>
                  </a:cubicBezTo>
                  <a:cubicBezTo>
                    <a:pt x="1752" y="1858"/>
                    <a:pt x="1749" y="1858"/>
                    <a:pt x="1747" y="1858"/>
                  </a:cubicBezTo>
                  <a:cubicBezTo>
                    <a:pt x="1662" y="1858"/>
                    <a:pt x="1662" y="1858"/>
                    <a:pt x="1662" y="1858"/>
                  </a:cubicBezTo>
                  <a:cubicBezTo>
                    <a:pt x="1659" y="1858"/>
                    <a:pt x="1656" y="1858"/>
                    <a:pt x="1653" y="1858"/>
                  </a:cubicBezTo>
                  <a:cubicBezTo>
                    <a:pt x="1651" y="1857"/>
                    <a:pt x="1650" y="1857"/>
                    <a:pt x="1649" y="1857"/>
                  </a:cubicBezTo>
                  <a:cubicBezTo>
                    <a:pt x="1632" y="1855"/>
                    <a:pt x="1611" y="1847"/>
                    <a:pt x="1602" y="1831"/>
                  </a:cubicBezTo>
                  <a:cubicBezTo>
                    <a:pt x="1600" y="1829"/>
                    <a:pt x="1599" y="1827"/>
                    <a:pt x="1598" y="1825"/>
                  </a:cubicBezTo>
                  <a:cubicBezTo>
                    <a:pt x="1598" y="1824"/>
                    <a:pt x="1598" y="1824"/>
                    <a:pt x="1598" y="1824"/>
                  </a:cubicBezTo>
                  <a:cubicBezTo>
                    <a:pt x="1594" y="1812"/>
                    <a:pt x="1588" y="1801"/>
                    <a:pt x="1584" y="1788"/>
                  </a:cubicBezTo>
                  <a:cubicBezTo>
                    <a:pt x="1582" y="1782"/>
                    <a:pt x="1578" y="1774"/>
                    <a:pt x="1576" y="1766"/>
                  </a:cubicBezTo>
                  <a:cubicBezTo>
                    <a:pt x="1576" y="1765"/>
                    <a:pt x="1576" y="1765"/>
                    <a:pt x="1576" y="1765"/>
                  </a:cubicBezTo>
                  <a:cubicBezTo>
                    <a:pt x="1576" y="1765"/>
                    <a:pt x="1575" y="1764"/>
                    <a:pt x="1575" y="1763"/>
                  </a:cubicBezTo>
                  <a:cubicBezTo>
                    <a:pt x="1575" y="1760"/>
                    <a:pt x="1575" y="1757"/>
                    <a:pt x="1575" y="1754"/>
                  </a:cubicBezTo>
                  <a:cubicBezTo>
                    <a:pt x="1576" y="1752"/>
                    <a:pt x="1577" y="1751"/>
                    <a:pt x="1578" y="1749"/>
                  </a:cubicBezTo>
                  <a:cubicBezTo>
                    <a:pt x="1583" y="1741"/>
                    <a:pt x="1593" y="1738"/>
                    <a:pt x="1603" y="1737"/>
                  </a:cubicBezTo>
                  <a:cubicBezTo>
                    <a:pt x="1603" y="1737"/>
                    <a:pt x="1603" y="1737"/>
                    <a:pt x="1604" y="1737"/>
                  </a:cubicBezTo>
                  <a:cubicBezTo>
                    <a:pt x="1606" y="1737"/>
                    <a:pt x="1608" y="1737"/>
                    <a:pt x="1611" y="1737"/>
                  </a:cubicBezTo>
                  <a:cubicBezTo>
                    <a:pt x="1612" y="1736"/>
                    <a:pt x="1612" y="1736"/>
                    <a:pt x="1612" y="1736"/>
                  </a:cubicBezTo>
                  <a:cubicBezTo>
                    <a:pt x="1618" y="1736"/>
                    <a:pt x="1618" y="1736"/>
                    <a:pt x="1618" y="1736"/>
                  </a:cubicBezTo>
                  <a:cubicBezTo>
                    <a:pt x="1619" y="1736"/>
                    <a:pt x="1620" y="1736"/>
                    <a:pt x="1623" y="1736"/>
                  </a:cubicBezTo>
                  <a:cubicBezTo>
                    <a:pt x="1648" y="1736"/>
                    <a:pt x="1674" y="1736"/>
                    <a:pt x="1701" y="1736"/>
                  </a:cubicBezTo>
                  <a:cubicBezTo>
                    <a:pt x="1704" y="1736"/>
                    <a:pt x="1707" y="1736"/>
                    <a:pt x="1710" y="1737"/>
                  </a:cubicBezTo>
                  <a:cubicBezTo>
                    <a:pt x="1711" y="1737"/>
                    <a:pt x="1711" y="1737"/>
                    <a:pt x="1711" y="1737"/>
                  </a:cubicBezTo>
                  <a:cubicBezTo>
                    <a:pt x="1729" y="1739"/>
                    <a:pt x="1749" y="1746"/>
                    <a:pt x="1759" y="1759"/>
                  </a:cubicBezTo>
                  <a:cubicBezTo>
                    <a:pt x="1761" y="1761"/>
                    <a:pt x="1762" y="1763"/>
                    <a:pt x="1763" y="1765"/>
                  </a:cubicBezTo>
                  <a:cubicBezTo>
                    <a:pt x="1766" y="1771"/>
                    <a:pt x="1766" y="1771"/>
                    <a:pt x="1766" y="1771"/>
                  </a:cubicBezTo>
                  <a:cubicBezTo>
                    <a:pt x="1771" y="1781"/>
                    <a:pt x="1777" y="1791"/>
                    <a:pt x="1782" y="1803"/>
                  </a:cubicBezTo>
                  <a:cubicBezTo>
                    <a:pt x="1785" y="1809"/>
                    <a:pt x="1791" y="1817"/>
                    <a:pt x="1793" y="1826"/>
                  </a:cubicBezTo>
                  <a:cubicBezTo>
                    <a:pt x="1795" y="1830"/>
                    <a:pt x="1796" y="1834"/>
                    <a:pt x="1795" y="1838"/>
                  </a:cubicBezTo>
                  <a:close/>
                  <a:moveTo>
                    <a:pt x="1809" y="1671"/>
                  </a:moveTo>
                  <a:cubicBezTo>
                    <a:pt x="1805" y="1667"/>
                    <a:pt x="1801" y="1663"/>
                    <a:pt x="1799" y="1660"/>
                  </a:cubicBezTo>
                  <a:cubicBezTo>
                    <a:pt x="1797" y="1657"/>
                    <a:pt x="1797" y="1657"/>
                    <a:pt x="1797" y="1657"/>
                  </a:cubicBezTo>
                  <a:cubicBezTo>
                    <a:pt x="1790" y="1644"/>
                    <a:pt x="1783" y="1631"/>
                    <a:pt x="1776" y="1618"/>
                  </a:cubicBezTo>
                  <a:cubicBezTo>
                    <a:pt x="1772" y="1613"/>
                    <a:pt x="1772" y="1613"/>
                    <a:pt x="1772" y="1613"/>
                  </a:cubicBezTo>
                  <a:cubicBezTo>
                    <a:pt x="1770" y="1610"/>
                    <a:pt x="1770" y="1607"/>
                    <a:pt x="1770" y="1604"/>
                  </a:cubicBezTo>
                  <a:cubicBezTo>
                    <a:pt x="1771" y="1600"/>
                    <a:pt x="1772" y="1598"/>
                    <a:pt x="1776" y="1595"/>
                  </a:cubicBezTo>
                  <a:cubicBezTo>
                    <a:pt x="1779" y="1593"/>
                    <a:pt x="1782" y="1592"/>
                    <a:pt x="1786" y="1590"/>
                  </a:cubicBezTo>
                  <a:cubicBezTo>
                    <a:pt x="1791" y="1589"/>
                    <a:pt x="1796" y="1589"/>
                    <a:pt x="1802" y="1589"/>
                  </a:cubicBezTo>
                  <a:cubicBezTo>
                    <a:pt x="1803" y="1589"/>
                    <a:pt x="1803" y="1589"/>
                    <a:pt x="1803" y="1589"/>
                  </a:cubicBezTo>
                  <a:cubicBezTo>
                    <a:pt x="1816" y="1588"/>
                    <a:pt x="1830" y="1588"/>
                    <a:pt x="1838" y="1588"/>
                  </a:cubicBezTo>
                  <a:cubicBezTo>
                    <a:pt x="1870" y="1588"/>
                    <a:pt x="1920" y="1582"/>
                    <a:pt x="1941" y="1613"/>
                  </a:cubicBezTo>
                  <a:cubicBezTo>
                    <a:pt x="1948" y="1622"/>
                    <a:pt x="1954" y="1632"/>
                    <a:pt x="1962" y="1643"/>
                  </a:cubicBezTo>
                  <a:cubicBezTo>
                    <a:pt x="1965" y="1648"/>
                    <a:pt x="1971" y="1655"/>
                    <a:pt x="1974" y="1661"/>
                  </a:cubicBezTo>
                  <a:cubicBezTo>
                    <a:pt x="1976" y="1664"/>
                    <a:pt x="1977" y="1667"/>
                    <a:pt x="1977" y="1671"/>
                  </a:cubicBezTo>
                  <a:cubicBezTo>
                    <a:pt x="1977" y="1672"/>
                    <a:pt x="1976" y="1674"/>
                    <a:pt x="1975" y="1676"/>
                  </a:cubicBezTo>
                  <a:cubicBezTo>
                    <a:pt x="1975" y="1677"/>
                    <a:pt x="1974" y="1678"/>
                    <a:pt x="1973" y="1679"/>
                  </a:cubicBezTo>
                  <a:cubicBezTo>
                    <a:pt x="1972" y="1680"/>
                    <a:pt x="1972" y="1680"/>
                    <a:pt x="1971" y="1681"/>
                  </a:cubicBezTo>
                  <a:cubicBezTo>
                    <a:pt x="1970" y="1681"/>
                    <a:pt x="1970" y="1681"/>
                    <a:pt x="1970" y="1681"/>
                  </a:cubicBezTo>
                  <a:cubicBezTo>
                    <a:pt x="1969" y="1682"/>
                    <a:pt x="1968" y="1682"/>
                    <a:pt x="1967" y="1683"/>
                  </a:cubicBezTo>
                  <a:cubicBezTo>
                    <a:pt x="1966" y="1683"/>
                    <a:pt x="1964" y="1684"/>
                    <a:pt x="1963" y="1684"/>
                  </a:cubicBezTo>
                  <a:cubicBezTo>
                    <a:pt x="1963" y="1685"/>
                    <a:pt x="1963" y="1685"/>
                    <a:pt x="1963" y="1685"/>
                  </a:cubicBezTo>
                  <a:cubicBezTo>
                    <a:pt x="1962" y="1685"/>
                    <a:pt x="1962" y="1685"/>
                    <a:pt x="1962" y="1685"/>
                  </a:cubicBezTo>
                  <a:cubicBezTo>
                    <a:pt x="1947" y="1689"/>
                    <a:pt x="1925" y="1687"/>
                    <a:pt x="1911" y="1687"/>
                  </a:cubicBezTo>
                  <a:cubicBezTo>
                    <a:pt x="1894" y="1687"/>
                    <a:pt x="1877" y="1687"/>
                    <a:pt x="1860" y="1687"/>
                  </a:cubicBezTo>
                  <a:cubicBezTo>
                    <a:pt x="1845" y="1687"/>
                    <a:pt x="1827" y="1683"/>
                    <a:pt x="1814" y="1675"/>
                  </a:cubicBezTo>
                  <a:cubicBezTo>
                    <a:pt x="1812" y="1673"/>
                    <a:pt x="1811" y="1672"/>
                    <a:pt x="1809" y="1671"/>
                  </a:cubicBezTo>
                  <a:close/>
                  <a:moveTo>
                    <a:pt x="2088" y="1847"/>
                  </a:moveTo>
                  <a:cubicBezTo>
                    <a:pt x="2088" y="1847"/>
                    <a:pt x="2088" y="1847"/>
                    <a:pt x="2087" y="1847"/>
                  </a:cubicBezTo>
                  <a:cubicBezTo>
                    <a:pt x="2085" y="1850"/>
                    <a:pt x="2081" y="1853"/>
                    <a:pt x="2075" y="1854"/>
                  </a:cubicBezTo>
                  <a:cubicBezTo>
                    <a:pt x="2071" y="1856"/>
                    <a:pt x="2065" y="1857"/>
                    <a:pt x="2058" y="1857"/>
                  </a:cubicBezTo>
                  <a:cubicBezTo>
                    <a:pt x="2051" y="1857"/>
                    <a:pt x="2051" y="1857"/>
                    <a:pt x="2051" y="1857"/>
                  </a:cubicBezTo>
                  <a:cubicBezTo>
                    <a:pt x="2022" y="1857"/>
                    <a:pt x="1992" y="1857"/>
                    <a:pt x="1962" y="1857"/>
                  </a:cubicBezTo>
                  <a:cubicBezTo>
                    <a:pt x="1959" y="1857"/>
                    <a:pt x="1954" y="1857"/>
                    <a:pt x="1951" y="1857"/>
                  </a:cubicBezTo>
                  <a:cubicBezTo>
                    <a:pt x="1931" y="1855"/>
                    <a:pt x="1909" y="1846"/>
                    <a:pt x="1896" y="1830"/>
                  </a:cubicBezTo>
                  <a:cubicBezTo>
                    <a:pt x="1894" y="1828"/>
                    <a:pt x="1892" y="1826"/>
                    <a:pt x="1891" y="1824"/>
                  </a:cubicBezTo>
                  <a:cubicBezTo>
                    <a:pt x="1885" y="1813"/>
                    <a:pt x="1878" y="1802"/>
                    <a:pt x="1872" y="1790"/>
                  </a:cubicBezTo>
                  <a:cubicBezTo>
                    <a:pt x="1868" y="1782"/>
                    <a:pt x="1858" y="1770"/>
                    <a:pt x="1856" y="1759"/>
                  </a:cubicBezTo>
                  <a:cubicBezTo>
                    <a:pt x="1855" y="1758"/>
                    <a:pt x="1855" y="1757"/>
                    <a:pt x="1855" y="1756"/>
                  </a:cubicBezTo>
                  <a:cubicBezTo>
                    <a:pt x="1854" y="1746"/>
                    <a:pt x="1862" y="1741"/>
                    <a:pt x="1872" y="1738"/>
                  </a:cubicBezTo>
                  <a:cubicBezTo>
                    <a:pt x="1873" y="1738"/>
                    <a:pt x="1873" y="1738"/>
                    <a:pt x="1873" y="1738"/>
                  </a:cubicBezTo>
                  <a:cubicBezTo>
                    <a:pt x="1874" y="1738"/>
                    <a:pt x="1874" y="1738"/>
                    <a:pt x="1875" y="1737"/>
                  </a:cubicBezTo>
                  <a:cubicBezTo>
                    <a:pt x="1879" y="1736"/>
                    <a:pt x="1884" y="1736"/>
                    <a:pt x="1889" y="1736"/>
                  </a:cubicBezTo>
                  <a:cubicBezTo>
                    <a:pt x="1948" y="1736"/>
                    <a:pt x="1948" y="1736"/>
                    <a:pt x="1948" y="1736"/>
                  </a:cubicBezTo>
                  <a:cubicBezTo>
                    <a:pt x="1958" y="1736"/>
                    <a:pt x="1968" y="1736"/>
                    <a:pt x="1977" y="1736"/>
                  </a:cubicBezTo>
                  <a:cubicBezTo>
                    <a:pt x="1978" y="1736"/>
                    <a:pt x="1978" y="1736"/>
                    <a:pt x="1979" y="1736"/>
                  </a:cubicBezTo>
                  <a:cubicBezTo>
                    <a:pt x="1981" y="1736"/>
                    <a:pt x="1984" y="1736"/>
                    <a:pt x="1986" y="1736"/>
                  </a:cubicBezTo>
                  <a:cubicBezTo>
                    <a:pt x="1988" y="1736"/>
                    <a:pt x="1988" y="1736"/>
                    <a:pt x="1989" y="1736"/>
                  </a:cubicBezTo>
                  <a:cubicBezTo>
                    <a:pt x="2007" y="1738"/>
                    <a:pt x="2027" y="1745"/>
                    <a:pt x="2039" y="1758"/>
                  </a:cubicBezTo>
                  <a:cubicBezTo>
                    <a:pt x="2040" y="1758"/>
                    <a:pt x="2041" y="1759"/>
                    <a:pt x="2042" y="1760"/>
                  </a:cubicBezTo>
                  <a:cubicBezTo>
                    <a:pt x="2042" y="1761"/>
                    <a:pt x="2043" y="1761"/>
                    <a:pt x="2043" y="1762"/>
                  </a:cubicBezTo>
                  <a:cubicBezTo>
                    <a:pt x="2044" y="1763"/>
                    <a:pt x="2044" y="1763"/>
                    <a:pt x="2045" y="1764"/>
                  </a:cubicBezTo>
                  <a:cubicBezTo>
                    <a:pt x="2048" y="1766"/>
                    <a:pt x="2048" y="1766"/>
                    <a:pt x="2048" y="1766"/>
                  </a:cubicBezTo>
                  <a:cubicBezTo>
                    <a:pt x="2053" y="1775"/>
                    <a:pt x="2058" y="1783"/>
                    <a:pt x="2064" y="1791"/>
                  </a:cubicBezTo>
                  <a:cubicBezTo>
                    <a:pt x="2071" y="1803"/>
                    <a:pt x="2082" y="1814"/>
                    <a:pt x="2088" y="1827"/>
                  </a:cubicBezTo>
                  <a:cubicBezTo>
                    <a:pt x="2089" y="1828"/>
                    <a:pt x="2089" y="1828"/>
                    <a:pt x="2089" y="1829"/>
                  </a:cubicBezTo>
                  <a:cubicBezTo>
                    <a:pt x="2090" y="1830"/>
                    <a:pt x="2090" y="1830"/>
                    <a:pt x="2090" y="1830"/>
                  </a:cubicBezTo>
                  <a:cubicBezTo>
                    <a:pt x="2092" y="1838"/>
                    <a:pt x="2091" y="1843"/>
                    <a:pt x="2088" y="1847"/>
                  </a:cubicBezTo>
                  <a:close/>
                </a:path>
              </a:pathLst>
            </a:custGeom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520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מלבן מעוגל 227"/>
          <p:cNvSpPr/>
          <p:nvPr/>
        </p:nvSpPr>
        <p:spPr bwMode="auto">
          <a:xfrm>
            <a:off x="211801" y="1393372"/>
            <a:ext cx="8708571" cy="5341258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triangle" w="med" len="med"/>
            <a:tailEnd type="triangle" w="med" len="med"/>
          </a:ln>
          <a:effectLst>
            <a:reflection endPos="0" dir="5400000" sy="-100000" algn="bl" rotWithShape="0"/>
          </a:effectLst>
        </p:spPr>
        <p:txBody>
          <a:bodyPr rtlCol="1"/>
          <a:lstStyle/>
          <a:p>
            <a:pPr>
              <a:defRPr/>
            </a:pPr>
            <a:endParaRPr lang="he-IL">
              <a:cs typeface="+mn-cs"/>
            </a:endParaRPr>
          </a:p>
        </p:txBody>
      </p:sp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solidFill>
                  <a:srgbClr val="ED9208"/>
                </a:solidFill>
              </a:rPr>
              <a:t>Cloud-based Web Application</a:t>
            </a:r>
            <a:br>
              <a:rPr lang="en-US" dirty="0">
                <a:solidFill>
                  <a:srgbClr val="ED9208"/>
                </a:solidFill>
              </a:rPr>
            </a:br>
            <a:r>
              <a:rPr lang="en-US" dirty="0">
                <a:solidFill>
                  <a:srgbClr val="ED9208"/>
                </a:solidFill>
              </a:rPr>
              <a:t>Architectural Overview</a:t>
            </a:r>
            <a:endParaRPr lang="he-IL" dirty="0">
              <a:solidFill>
                <a:srgbClr val="ED9208"/>
              </a:solidFill>
            </a:endParaRPr>
          </a:p>
        </p:txBody>
      </p:sp>
      <p:cxnSp>
        <p:nvCxnSpPr>
          <p:cNvPr id="153" name="Straight Arrow Connector 44"/>
          <p:cNvCxnSpPr>
            <a:stCxn id="161" idx="2"/>
          </p:cNvCxnSpPr>
          <p:nvPr>
            <p:custDataLst>
              <p:tags r:id="rId1"/>
            </p:custDataLst>
          </p:nvPr>
        </p:nvCxnSpPr>
        <p:spPr>
          <a:xfrm flipH="1">
            <a:off x="5854700" y="5626100"/>
            <a:ext cx="585788" cy="4111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4" name="Straight Arrow Connector 45"/>
          <p:cNvCxnSpPr/>
          <p:nvPr>
            <p:custDataLst>
              <p:tags r:id="rId2"/>
            </p:custDataLst>
          </p:nvPr>
        </p:nvCxnSpPr>
        <p:spPr>
          <a:xfrm flipV="1">
            <a:off x="1658938" y="3540125"/>
            <a:ext cx="857250" cy="5000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7" name="Straight Arrow Connector 52"/>
          <p:cNvCxnSpPr>
            <a:endCxn id="170" idx="1"/>
          </p:cNvCxnSpPr>
          <p:nvPr>
            <p:custDataLst>
              <p:tags r:id="rId3"/>
            </p:custDataLst>
          </p:nvPr>
        </p:nvCxnSpPr>
        <p:spPr>
          <a:xfrm flipV="1">
            <a:off x="6037263" y="4870450"/>
            <a:ext cx="1060450" cy="23495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8" name="Straight Arrow Connector 56"/>
          <p:cNvCxnSpPr>
            <a:stCxn id="201" idx="10"/>
            <a:endCxn id="183" idx="4"/>
          </p:cNvCxnSpPr>
          <p:nvPr>
            <p:custDataLst>
              <p:tags r:id="rId4"/>
            </p:custDataLst>
          </p:nvPr>
        </p:nvCxnSpPr>
        <p:spPr>
          <a:xfrm>
            <a:off x="6037263" y="5283200"/>
            <a:ext cx="1103312" cy="3349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61" name="Rounded Rectangle 22"/>
          <p:cNvSpPr/>
          <p:nvPr>
            <p:custDataLst>
              <p:tags r:id="rId5"/>
            </p:custDataLst>
          </p:nvPr>
        </p:nvSpPr>
        <p:spPr>
          <a:xfrm>
            <a:off x="6353175" y="4781550"/>
            <a:ext cx="174625" cy="844550"/>
          </a:xfrm>
          <a:prstGeom prst="roundRect">
            <a:avLst/>
          </a:prstGeom>
          <a:solidFill>
            <a:srgbClr val="00AEEF"/>
          </a:solidFill>
          <a:ln w="9525" cap="flat" cmpd="sng" algn="ctr">
            <a:noFill/>
            <a:prstDash val="solid"/>
          </a:ln>
          <a:effectLst/>
        </p:spPr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893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2516188" y="2568575"/>
            <a:ext cx="1528762" cy="1023938"/>
            <a:chOff x="2516465" y="2568920"/>
            <a:chExt cx="1528154" cy="1024238"/>
          </a:xfrm>
        </p:grpSpPr>
        <p:sp>
          <p:nvSpPr>
            <p:cNvPr id="138" name="Freeform 6"/>
            <p:cNvSpPr>
              <a:spLocks/>
            </p:cNvSpPr>
            <p:nvPr/>
          </p:nvSpPr>
          <p:spPr bwMode="auto">
            <a:xfrm>
              <a:off x="2516465" y="2568920"/>
              <a:ext cx="1528154" cy="102423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</p:spPr>
          <p:txBody>
            <a:bodyPr lIns="274320" tIns="27432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CDN</a:t>
              </a:r>
              <a:endParaRPr lang="en-US" sz="2000" kern="0" dirty="0">
                <a:latin typeface="+mj-lt"/>
                <a:cs typeface="+mn-cs"/>
              </a:endParaRPr>
            </a:p>
          </p:txBody>
        </p:sp>
        <p:sp>
          <p:nvSpPr>
            <p:cNvPr id="162" name="Freeform 62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black">
            <a:xfrm>
              <a:off x="3317833" y="2646731"/>
              <a:ext cx="407826" cy="408107"/>
            </a:xfrm>
            <a:custGeom>
              <a:avLst/>
              <a:gdLst>
                <a:gd name="T0" fmla="*/ 189 w 189"/>
                <a:gd name="T1" fmla="*/ 94 h 189"/>
                <a:gd name="T2" fmla="*/ 0 w 189"/>
                <a:gd name="T3" fmla="*/ 94 h 189"/>
                <a:gd name="T4" fmla="*/ 129 w 189"/>
                <a:gd name="T5" fmla="*/ 172 h 189"/>
                <a:gd name="T6" fmla="*/ 124 w 189"/>
                <a:gd name="T7" fmla="*/ 123 h 189"/>
                <a:gd name="T8" fmla="*/ 123 w 189"/>
                <a:gd name="T9" fmla="*/ 84 h 189"/>
                <a:gd name="T10" fmla="*/ 140 w 189"/>
                <a:gd name="T11" fmla="*/ 85 h 189"/>
                <a:gd name="T12" fmla="*/ 152 w 189"/>
                <a:gd name="T13" fmla="*/ 89 h 189"/>
                <a:gd name="T14" fmla="*/ 158 w 189"/>
                <a:gd name="T15" fmla="*/ 84 h 189"/>
                <a:gd name="T16" fmla="*/ 152 w 189"/>
                <a:gd name="T17" fmla="*/ 82 h 189"/>
                <a:gd name="T18" fmla="*/ 146 w 189"/>
                <a:gd name="T19" fmla="*/ 78 h 189"/>
                <a:gd name="T20" fmla="*/ 139 w 189"/>
                <a:gd name="T21" fmla="*/ 74 h 189"/>
                <a:gd name="T22" fmla="*/ 128 w 189"/>
                <a:gd name="T23" fmla="*/ 80 h 189"/>
                <a:gd name="T24" fmla="*/ 121 w 189"/>
                <a:gd name="T25" fmla="*/ 72 h 189"/>
                <a:gd name="T26" fmla="*/ 132 w 189"/>
                <a:gd name="T27" fmla="*/ 59 h 189"/>
                <a:gd name="T28" fmla="*/ 140 w 189"/>
                <a:gd name="T29" fmla="*/ 57 h 189"/>
                <a:gd name="T30" fmla="*/ 149 w 189"/>
                <a:gd name="T31" fmla="*/ 52 h 189"/>
                <a:gd name="T32" fmla="*/ 148 w 189"/>
                <a:gd name="T33" fmla="*/ 44 h 189"/>
                <a:gd name="T34" fmla="*/ 144 w 189"/>
                <a:gd name="T35" fmla="*/ 46 h 189"/>
                <a:gd name="T36" fmla="*/ 138 w 189"/>
                <a:gd name="T37" fmla="*/ 48 h 189"/>
                <a:gd name="T38" fmla="*/ 147 w 189"/>
                <a:gd name="T39" fmla="*/ 28 h 189"/>
                <a:gd name="T40" fmla="*/ 108 w 189"/>
                <a:gd name="T41" fmla="*/ 11 h 189"/>
                <a:gd name="T42" fmla="*/ 90 w 189"/>
                <a:gd name="T43" fmla="*/ 43 h 189"/>
                <a:gd name="T44" fmla="*/ 78 w 189"/>
                <a:gd name="T45" fmla="*/ 21 h 189"/>
                <a:gd name="T46" fmla="*/ 69 w 189"/>
                <a:gd name="T47" fmla="*/ 13 h 189"/>
                <a:gd name="T48" fmla="*/ 60 w 189"/>
                <a:gd name="T49" fmla="*/ 23 h 189"/>
                <a:gd name="T50" fmla="*/ 72 w 189"/>
                <a:gd name="T51" fmla="*/ 43 h 189"/>
                <a:gd name="T52" fmla="*/ 59 w 189"/>
                <a:gd name="T53" fmla="*/ 31 h 189"/>
                <a:gd name="T54" fmla="*/ 44 w 189"/>
                <a:gd name="T55" fmla="*/ 49 h 189"/>
                <a:gd name="T56" fmla="*/ 57 w 189"/>
                <a:gd name="T57" fmla="*/ 47 h 189"/>
                <a:gd name="T58" fmla="*/ 73 w 189"/>
                <a:gd name="T59" fmla="*/ 70 h 189"/>
                <a:gd name="T60" fmla="*/ 47 w 189"/>
                <a:gd name="T61" fmla="*/ 100 h 189"/>
                <a:gd name="T62" fmla="*/ 31 w 189"/>
                <a:gd name="T63" fmla="*/ 97 h 189"/>
                <a:gd name="T64" fmla="*/ 40 w 189"/>
                <a:gd name="T65" fmla="*/ 103 h 189"/>
                <a:gd name="T66" fmla="*/ 42 w 189"/>
                <a:gd name="T67" fmla="*/ 116 h 189"/>
                <a:gd name="T68" fmla="*/ 81 w 189"/>
                <a:gd name="T69" fmla="*/ 132 h 189"/>
                <a:gd name="T70" fmla="*/ 67 w 189"/>
                <a:gd name="T71" fmla="*/ 175 h 189"/>
                <a:gd name="T72" fmla="*/ 129 w 189"/>
                <a:gd name="T73" fmla="*/ 172 h 189"/>
                <a:gd name="T74" fmla="*/ 172 w 189"/>
                <a:gd name="T75" fmla="*/ 115 h 189"/>
                <a:gd name="T76" fmla="*/ 172 w 189"/>
                <a:gd name="T77" fmla="*/ 118 h 189"/>
                <a:gd name="T78" fmla="*/ 177 w 189"/>
                <a:gd name="T79" fmla="*/ 114 h 189"/>
                <a:gd name="T80" fmla="*/ 156 w 189"/>
                <a:gd name="T81" fmla="*/ 152 h 189"/>
                <a:gd name="T82" fmla="*/ 52 w 189"/>
                <a:gd name="T83" fmla="*/ 168 h 189"/>
                <a:gd name="T84" fmla="*/ 47 w 189"/>
                <a:gd name="T85" fmla="*/ 126 h 189"/>
                <a:gd name="T86" fmla="*/ 42 w 189"/>
                <a:gd name="T87" fmla="*/ 121 h 189"/>
                <a:gd name="T88" fmla="*/ 20 w 189"/>
                <a:gd name="T89" fmla="*/ 103 h 189"/>
                <a:gd name="T90" fmla="*/ 9 w 189"/>
                <a:gd name="T91" fmla="*/ 94 h 189"/>
                <a:gd name="T92" fmla="*/ 108 w 189"/>
                <a:gd name="T93" fmla="*/ 41 h 189"/>
                <a:gd name="T94" fmla="*/ 108 w 189"/>
                <a:gd name="T95" fmla="*/ 41 h 189"/>
                <a:gd name="T96" fmla="*/ 129 w 189"/>
                <a:gd name="T97" fmla="*/ 58 h 189"/>
                <a:gd name="T98" fmla="*/ 125 w 189"/>
                <a:gd name="T99" fmla="*/ 49 h 189"/>
                <a:gd name="T100" fmla="*/ 160 w 189"/>
                <a:gd name="T101" fmla="*/ 69 h 189"/>
                <a:gd name="T102" fmla="*/ 158 w 189"/>
                <a:gd name="T103" fmla="*/ 77 h 189"/>
                <a:gd name="T104" fmla="*/ 59 w 189"/>
                <a:gd name="T105" fmla="*/ 106 h 189"/>
                <a:gd name="T106" fmla="*/ 46 w 189"/>
                <a:gd name="T107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9" h="189">
                  <a:moveTo>
                    <a:pt x="94" y="0"/>
                  </a:moveTo>
                  <a:cubicBezTo>
                    <a:pt x="146" y="0"/>
                    <a:pt x="189" y="42"/>
                    <a:pt x="189" y="94"/>
                  </a:cubicBezTo>
                  <a:cubicBezTo>
                    <a:pt x="189" y="147"/>
                    <a:pt x="146" y="189"/>
                    <a:pt x="94" y="189"/>
                  </a:cubicBezTo>
                  <a:cubicBezTo>
                    <a:pt x="42" y="189"/>
                    <a:pt x="0" y="147"/>
                    <a:pt x="0" y="94"/>
                  </a:cubicBezTo>
                  <a:cubicBezTo>
                    <a:pt x="0" y="42"/>
                    <a:pt x="42" y="0"/>
                    <a:pt x="94" y="0"/>
                  </a:cubicBezTo>
                  <a:close/>
                  <a:moveTo>
                    <a:pt x="129" y="172"/>
                  </a:moveTo>
                  <a:cubicBezTo>
                    <a:pt x="126" y="156"/>
                    <a:pt x="135" y="129"/>
                    <a:pt x="130" y="124"/>
                  </a:cubicBezTo>
                  <a:cubicBezTo>
                    <a:pt x="128" y="123"/>
                    <a:pt x="126" y="122"/>
                    <a:pt x="124" y="123"/>
                  </a:cubicBezTo>
                  <a:cubicBezTo>
                    <a:pt x="120" y="124"/>
                    <a:pt x="116" y="126"/>
                    <a:pt x="113" y="125"/>
                  </a:cubicBezTo>
                  <a:cubicBezTo>
                    <a:pt x="96" y="117"/>
                    <a:pt x="106" y="90"/>
                    <a:pt x="123" y="84"/>
                  </a:cubicBezTo>
                  <a:cubicBezTo>
                    <a:pt x="126" y="83"/>
                    <a:pt x="129" y="83"/>
                    <a:pt x="132" y="83"/>
                  </a:cubicBezTo>
                  <a:cubicBezTo>
                    <a:pt x="137" y="82"/>
                    <a:pt x="140" y="82"/>
                    <a:pt x="140" y="85"/>
                  </a:cubicBezTo>
                  <a:cubicBezTo>
                    <a:pt x="140" y="89"/>
                    <a:pt x="148" y="92"/>
                    <a:pt x="150" y="92"/>
                  </a:cubicBezTo>
                  <a:cubicBezTo>
                    <a:pt x="151" y="92"/>
                    <a:pt x="151" y="89"/>
                    <a:pt x="152" y="89"/>
                  </a:cubicBezTo>
                  <a:cubicBezTo>
                    <a:pt x="159" y="89"/>
                    <a:pt x="164" y="93"/>
                    <a:pt x="165" y="90"/>
                  </a:cubicBezTo>
                  <a:cubicBezTo>
                    <a:pt x="167" y="80"/>
                    <a:pt x="166" y="85"/>
                    <a:pt x="158" y="84"/>
                  </a:cubicBezTo>
                  <a:cubicBezTo>
                    <a:pt x="155" y="83"/>
                    <a:pt x="157" y="78"/>
                    <a:pt x="154" y="78"/>
                  </a:cubicBezTo>
                  <a:cubicBezTo>
                    <a:pt x="152" y="77"/>
                    <a:pt x="155" y="84"/>
                    <a:pt x="152" y="82"/>
                  </a:cubicBezTo>
                  <a:cubicBezTo>
                    <a:pt x="148" y="79"/>
                    <a:pt x="146" y="72"/>
                    <a:pt x="142" y="71"/>
                  </a:cubicBezTo>
                  <a:cubicBezTo>
                    <a:pt x="137" y="70"/>
                    <a:pt x="145" y="75"/>
                    <a:pt x="146" y="78"/>
                  </a:cubicBezTo>
                  <a:cubicBezTo>
                    <a:pt x="147" y="81"/>
                    <a:pt x="143" y="85"/>
                    <a:pt x="141" y="82"/>
                  </a:cubicBezTo>
                  <a:cubicBezTo>
                    <a:pt x="140" y="81"/>
                    <a:pt x="145" y="78"/>
                    <a:pt x="139" y="74"/>
                  </a:cubicBezTo>
                  <a:cubicBezTo>
                    <a:pt x="138" y="72"/>
                    <a:pt x="135" y="72"/>
                    <a:pt x="133" y="74"/>
                  </a:cubicBezTo>
                  <a:cubicBezTo>
                    <a:pt x="130" y="77"/>
                    <a:pt x="129" y="80"/>
                    <a:pt x="128" y="80"/>
                  </a:cubicBezTo>
                  <a:cubicBezTo>
                    <a:pt x="125" y="82"/>
                    <a:pt x="123" y="82"/>
                    <a:pt x="120" y="81"/>
                  </a:cubicBezTo>
                  <a:cubicBezTo>
                    <a:pt x="116" y="80"/>
                    <a:pt x="117" y="71"/>
                    <a:pt x="121" y="72"/>
                  </a:cubicBezTo>
                  <a:cubicBezTo>
                    <a:pt x="133" y="75"/>
                    <a:pt x="122" y="68"/>
                    <a:pt x="125" y="66"/>
                  </a:cubicBezTo>
                  <a:cubicBezTo>
                    <a:pt x="126" y="65"/>
                    <a:pt x="130" y="62"/>
                    <a:pt x="132" y="59"/>
                  </a:cubicBezTo>
                  <a:cubicBezTo>
                    <a:pt x="134" y="57"/>
                    <a:pt x="133" y="51"/>
                    <a:pt x="137" y="52"/>
                  </a:cubicBezTo>
                  <a:cubicBezTo>
                    <a:pt x="139" y="52"/>
                    <a:pt x="138" y="56"/>
                    <a:pt x="140" y="57"/>
                  </a:cubicBezTo>
                  <a:cubicBezTo>
                    <a:pt x="141" y="58"/>
                    <a:pt x="144" y="57"/>
                    <a:pt x="146" y="57"/>
                  </a:cubicBezTo>
                  <a:cubicBezTo>
                    <a:pt x="149" y="57"/>
                    <a:pt x="149" y="55"/>
                    <a:pt x="149" y="52"/>
                  </a:cubicBezTo>
                  <a:cubicBezTo>
                    <a:pt x="149" y="48"/>
                    <a:pt x="156" y="49"/>
                    <a:pt x="156" y="47"/>
                  </a:cubicBezTo>
                  <a:cubicBezTo>
                    <a:pt x="155" y="44"/>
                    <a:pt x="148" y="48"/>
                    <a:pt x="148" y="44"/>
                  </a:cubicBezTo>
                  <a:cubicBezTo>
                    <a:pt x="148" y="39"/>
                    <a:pt x="154" y="38"/>
                    <a:pt x="150" y="37"/>
                  </a:cubicBezTo>
                  <a:cubicBezTo>
                    <a:pt x="147" y="36"/>
                    <a:pt x="143" y="39"/>
                    <a:pt x="144" y="46"/>
                  </a:cubicBezTo>
                  <a:cubicBezTo>
                    <a:pt x="145" y="53"/>
                    <a:pt x="146" y="56"/>
                    <a:pt x="141" y="54"/>
                  </a:cubicBezTo>
                  <a:cubicBezTo>
                    <a:pt x="137" y="51"/>
                    <a:pt x="142" y="46"/>
                    <a:pt x="138" y="48"/>
                  </a:cubicBezTo>
                  <a:cubicBezTo>
                    <a:pt x="135" y="50"/>
                    <a:pt x="133" y="51"/>
                    <a:pt x="133" y="46"/>
                  </a:cubicBezTo>
                  <a:cubicBezTo>
                    <a:pt x="133" y="42"/>
                    <a:pt x="141" y="30"/>
                    <a:pt x="147" y="28"/>
                  </a:cubicBezTo>
                  <a:cubicBezTo>
                    <a:pt x="136" y="19"/>
                    <a:pt x="123" y="13"/>
                    <a:pt x="108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9"/>
                    <a:pt x="108" y="24"/>
                    <a:pt x="107" y="28"/>
                  </a:cubicBezTo>
                  <a:cubicBezTo>
                    <a:pt x="107" y="33"/>
                    <a:pt x="92" y="34"/>
                    <a:pt x="90" y="43"/>
                  </a:cubicBezTo>
                  <a:cubicBezTo>
                    <a:pt x="88" y="51"/>
                    <a:pt x="85" y="46"/>
                    <a:pt x="80" y="40"/>
                  </a:cubicBezTo>
                  <a:cubicBezTo>
                    <a:pt x="75" y="34"/>
                    <a:pt x="81" y="26"/>
                    <a:pt x="78" y="21"/>
                  </a:cubicBezTo>
                  <a:cubicBezTo>
                    <a:pt x="76" y="16"/>
                    <a:pt x="67" y="23"/>
                    <a:pt x="67" y="18"/>
                  </a:cubicBezTo>
                  <a:cubicBezTo>
                    <a:pt x="67" y="16"/>
                    <a:pt x="69" y="14"/>
                    <a:pt x="69" y="13"/>
                  </a:cubicBezTo>
                  <a:cubicBezTo>
                    <a:pt x="68" y="14"/>
                    <a:pt x="67" y="14"/>
                    <a:pt x="66" y="14"/>
                  </a:cubicBezTo>
                  <a:cubicBezTo>
                    <a:pt x="63" y="16"/>
                    <a:pt x="61" y="22"/>
                    <a:pt x="60" y="23"/>
                  </a:cubicBezTo>
                  <a:cubicBezTo>
                    <a:pt x="57" y="27"/>
                    <a:pt x="64" y="26"/>
                    <a:pt x="67" y="30"/>
                  </a:cubicBezTo>
                  <a:cubicBezTo>
                    <a:pt x="71" y="36"/>
                    <a:pt x="74" y="40"/>
                    <a:pt x="72" y="43"/>
                  </a:cubicBezTo>
                  <a:cubicBezTo>
                    <a:pt x="71" y="46"/>
                    <a:pt x="59" y="43"/>
                    <a:pt x="61" y="38"/>
                  </a:cubicBezTo>
                  <a:cubicBezTo>
                    <a:pt x="64" y="33"/>
                    <a:pt x="62" y="32"/>
                    <a:pt x="59" y="31"/>
                  </a:cubicBezTo>
                  <a:cubicBezTo>
                    <a:pt x="56" y="31"/>
                    <a:pt x="56" y="35"/>
                    <a:pt x="56" y="40"/>
                  </a:cubicBezTo>
                  <a:cubicBezTo>
                    <a:pt x="56" y="44"/>
                    <a:pt x="48" y="45"/>
                    <a:pt x="44" y="49"/>
                  </a:cubicBezTo>
                  <a:cubicBezTo>
                    <a:pt x="40" y="54"/>
                    <a:pt x="47" y="58"/>
                    <a:pt x="53" y="60"/>
                  </a:cubicBezTo>
                  <a:cubicBezTo>
                    <a:pt x="59" y="62"/>
                    <a:pt x="55" y="52"/>
                    <a:pt x="57" y="47"/>
                  </a:cubicBezTo>
                  <a:cubicBezTo>
                    <a:pt x="59" y="40"/>
                    <a:pt x="66" y="46"/>
                    <a:pt x="71" y="52"/>
                  </a:cubicBezTo>
                  <a:cubicBezTo>
                    <a:pt x="75" y="58"/>
                    <a:pt x="82" y="66"/>
                    <a:pt x="73" y="70"/>
                  </a:cubicBezTo>
                  <a:cubicBezTo>
                    <a:pt x="58" y="76"/>
                    <a:pt x="52" y="83"/>
                    <a:pt x="49" y="89"/>
                  </a:cubicBezTo>
                  <a:cubicBezTo>
                    <a:pt x="46" y="95"/>
                    <a:pt x="49" y="98"/>
                    <a:pt x="47" y="100"/>
                  </a:cubicBezTo>
                  <a:cubicBezTo>
                    <a:pt x="45" y="102"/>
                    <a:pt x="45" y="99"/>
                    <a:pt x="43" y="94"/>
                  </a:cubicBezTo>
                  <a:cubicBezTo>
                    <a:pt x="41" y="91"/>
                    <a:pt x="34" y="91"/>
                    <a:pt x="31" y="97"/>
                  </a:cubicBezTo>
                  <a:cubicBezTo>
                    <a:pt x="29" y="98"/>
                    <a:pt x="29" y="101"/>
                    <a:pt x="29" y="104"/>
                  </a:cubicBezTo>
                  <a:cubicBezTo>
                    <a:pt x="29" y="114"/>
                    <a:pt x="36" y="101"/>
                    <a:pt x="40" y="103"/>
                  </a:cubicBezTo>
                  <a:cubicBezTo>
                    <a:pt x="45" y="104"/>
                    <a:pt x="36" y="105"/>
                    <a:pt x="37" y="109"/>
                  </a:cubicBezTo>
                  <a:cubicBezTo>
                    <a:pt x="38" y="113"/>
                    <a:pt x="44" y="107"/>
                    <a:pt x="42" y="116"/>
                  </a:cubicBezTo>
                  <a:cubicBezTo>
                    <a:pt x="41" y="121"/>
                    <a:pt x="49" y="117"/>
                    <a:pt x="54" y="115"/>
                  </a:cubicBezTo>
                  <a:cubicBezTo>
                    <a:pt x="65" y="111"/>
                    <a:pt x="73" y="129"/>
                    <a:pt x="81" y="132"/>
                  </a:cubicBezTo>
                  <a:cubicBezTo>
                    <a:pt x="90" y="135"/>
                    <a:pt x="93" y="137"/>
                    <a:pt x="91" y="141"/>
                  </a:cubicBezTo>
                  <a:cubicBezTo>
                    <a:pt x="85" y="153"/>
                    <a:pt x="73" y="161"/>
                    <a:pt x="67" y="175"/>
                  </a:cubicBezTo>
                  <a:cubicBezTo>
                    <a:pt x="75" y="178"/>
                    <a:pt x="85" y="179"/>
                    <a:pt x="94" y="179"/>
                  </a:cubicBezTo>
                  <a:cubicBezTo>
                    <a:pt x="107" y="179"/>
                    <a:pt x="118" y="177"/>
                    <a:pt x="129" y="172"/>
                  </a:cubicBezTo>
                  <a:close/>
                  <a:moveTo>
                    <a:pt x="177" y="114"/>
                  </a:moveTo>
                  <a:cubicBezTo>
                    <a:pt x="175" y="114"/>
                    <a:pt x="173" y="115"/>
                    <a:pt x="172" y="115"/>
                  </a:cubicBezTo>
                  <a:cubicBezTo>
                    <a:pt x="167" y="113"/>
                    <a:pt x="170" y="93"/>
                    <a:pt x="163" y="94"/>
                  </a:cubicBezTo>
                  <a:cubicBezTo>
                    <a:pt x="160" y="95"/>
                    <a:pt x="165" y="110"/>
                    <a:pt x="172" y="118"/>
                  </a:cubicBezTo>
                  <a:cubicBezTo>
                    <a:pt x="173" y="119"/>
                    <a:pt x="174" y="118"/>
                    <a:pt x="176" y="118"/>
                  </a:cubicBezTo>
                  <a:cubicBezTo>
                    <a:pt x="176" y="117"/>
                    <a:pt x="177" y="115"/>
                    <a:pt x="177" y="114"/>
                  </a:cubicBezTo>
                  <a:close/>
                  <a:moveTo>
                    <a:pt x="172" y="128"/>
                  </a:moveTo>
                  <a:cubicBezTo>
                    <a:pt x="164" y="126"/>
                    <a:pt x="158" y="144"/>
                    <a:pt x="156" y="152"/>
                  </a:cubicBezTo>
                  <a:cubicBezTo>
                    <a:pt x="163" y="145"/>
                    <a:pt x="168" y="137"/>
                    <a:pt x="172" y="128"/>
                  </a:cubicBezTo>
                  <a:close/>
                  <a:moveTo>
                    <a:pt x="52" y="168"/>
                  </a:moveTo>
                  <a:cubicBezTo>
                    <a:pt x="53" y="160"/>
                    <a:pt x="54" y="151"/>
                    <a:pt x="52" y="150"/>
                  </a:cubicBezTo>
                  <a:cubicBezTo>
                    <a:pt x="45" y="144"/>
                    <a:pt x="40" y="135"/>
                    <a:pt x="47" y="126"/>
                  </a:cubicBezTo>
                  <a:cubicBezTo>
                    <a:pt x="48" y="125"/>
                    <a:pt x="49" y="124"/>
                    <a:pt x="49" y="122"/>
                  </a:cubicBezTo>
                  <a:cubicBezTo>
                    <a:pt x="50" y="119"/>
                    <a:pt x="47" y="121"/>
                    <a:pt x="42" y="121"/>
                  </a:cubicBezTo>
                  <a:cubicBezTo>
                    <a:pt x="37" y="121"/>
                    <a:pt x="41" y="113"/>
                    <a:pt x="31" y="112"/>
                  </a:cubicBezTo>
                  <a:cubicBezTo>
                    <a:pt x="21" y="111"/>
                    <a:pt x="21" y="109"/>
                    <a:pt x="20" y="103"/>
                  </a:cubicBezTo>
                  <a:cubicBezTo>
                    <a:pt x="20" y="97"/>
                    <a:pt x="14" y="91"/>
                    <a:pt x="9" y="90"/>
                  </a:cubicBezTo>
                  <a:cubicBezTo>
                    <a:pt x="9" y="91"/>
                    <a:pt x="9" y="93"/>
                    <a:pt x="9" y="94"/>
                  </a:cubicBezTo>
                  <a:cubicBezTo>
                    <a:pt x="9" y="126"/>
                    <a:pt x="27" y="154"/>
                    <a:pt x="52" y="168"/>
                  </a:cubicBezTo>
                  <a:close/>
                  <a:moveTo>
                    <a:pt x="108" y="41"/>
                  </a:moveTo>
                  <a:cubicBezTo>
                    <a:pt x="112" y="43"/>
                    <a:pt x="116" y="40"/>
                    <a:pt x="115" y="37"/>
                  </a:cubicBezTo>
                  <a:cubicBezTo>
                    <a:pt x="112" y="32"/>
                    <a:pt x="103" y="35"/>
                    <a:pt x="108" y="41"/>
                  </a:cubicBezTo>
                  <a:close/>
                  <a:moveTo>
                    <a:pt x="125" y="49"/>
                  </a:moveTo>
                  <a:cubicBezTo>
                    <a:pt x="128" y="49"/>
                    <a:pt x="130" y="55"/>
                    <a:pt x="129" y="58"/>
                  </a:cubicBezTo>
                  <a:cubicBezTo>
                    <a:pt x="127" y="64"/>
                    <a:pt x="122" y="60"/>
                    <a:pt x="121" y="56"/>
                  </a:cubicBezTo>
                  <a:cubicBezTo>
                    <a:pt x="121" y="52"/>
                    <a:pt x="122" y="49"/>
                    <a:pt x="125" y="49"/>
                  </a:cubicBezTo>
                  <a:close/>
                  <a:moveTo>
                    <a:pt x="158" y="77"/>
                  </a:moveTo>
                  <a:cubicBezTo>
                    <a:pt x="155" y="74"/>
                    <a:pt x="156" y="70"/>
                    <a:pt x="160" y="69"/>
                  </a:cubicBezTo>
                  <a:cubicBezTo>
                    <a:pt x="167" y="68"/>
                    <a:pt x="176" y="75"/>
                    <a:pt x="170" y="77"/>
                  </a:cubicBezTo>
                  <a:cubicBezTo>
                    <a:pt x="167" y="78"/>
                    <a:pt x="162" y="78"/>
                    <a:pt x="158" y="77"/>
                  </a:cubicBezTo>
                  <a:close/>
                  <a:moveTo>
                    <a:pt x="46" y="102"/>
                  </a:moveTo>
                  <a:cubicBezTo>
                    <a:pt x="49" y="102"/>
                    <a:pt x="57" y="104"/>
                    <a:pt x="59" y="106"/>
                  </a:cubicBezTo>
                  <a:cubicBezTo>
                    <a:pt x="61" y="109"/>
                    <a:pt x="53" y="108"/>
                    <a:pt x="48" y="106"/>
                  </a:cubicBezTo>
                  <a:cubicBezTo>
                    <a:pt x="45" y="105"/>
                    <a:pt x="43" y="103"/>
                    <a:pt x="46" y="102"/>
                  </a:cubicBezTo>
                  <a:close/>
                </a:path>
              </a:pathLst>
            </a:custGeom>
            <a:solidFill>
              <a:srgbClr val="00AEEF"/>
            </a:solidFill>
            <a:ln>
              <a:noFill/>
            </a:ln>
          </p:spPr>
          <p:txBody>
            <a:bodyPr lIns="82305" tIns="41153" rIns="82305" bIns="41153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7097713" y="4518025"/>
            <a:ext cx="1506537" cy="646113"/>
            <a:chOff x="7097009" y="4517816"/>
            <a:chExt cx="1506550" cy="646381"/>
          </a:xfrm>
        </p:grpSpPr>
        <p:sp>
          <p:nvSpPr>
            <p:cNvPr id="149" name="Flowchart: Internal Storage 21"/>
            <p:cNvSpPr/>
            <p:nvPr>
              <p:custDataLst>
                <p:tags r:id="rId17"/>
              </p:custDataLst>
            </p:nvPr>
          </p:nvSpPr>
          <p:spPr bwMode="auto">
            <a:xfrm>
              <a:off x="7269564" y="4517816"/>
              <a:ext cx="1333995" cy="587647"/>
            </a:xfrm>
            <a:prstGeom prst="flowChartInternalStorage">
              <a:avLst/>
            </a:prstGeom>
            <a:solidFill>
              <a:srgbClr val="FFFFFF"/>
            </a:solidFill>
            <a:ln w="9525" cap="flat" cmpd="sng" algn="ctr">
              <a:solidFill>
                <a:srgbClr val="00AEE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fontAlgn="auto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endPara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j-lt"/>
                <a:cs typeface="+mn-cs"/>
              </a:endParaRPr>
            </a:p>
          </p:txBody>
        </p:sp>
        <p:sp>
          <p:nvSpPr>
            <p:cNvPr id="170" name="Flowchart: Internal Storage 60"/>
            <p:cNvSpPr/>
            <p:nvPr>
              <p:custDataLst>
                <p:tags r:id="rId18"/>
              </p:custDataLst>
            </p:nvPr>
          </p:nvSpPr>
          <p:spPr bwMode="auto">
            <a:xfrm>
              <a:off x="7097009" y="4576550"/>
              <a:ext cx="1333995" cy="587647"/>
            </a:xfrm>
            <a:prstGeom prst="flowChartInternalStorage">
              <a:avLst/>
            </a:prstGeom>
            <a:solidFill>
              <a:srgbClr val="00AEEF">
                <a:lumMod val="20000"/>
                <a:lumOff val="80000"/>
              </a:srgbClr>
            </a:solidFill>
            <a:ln w="9525" cap="flat" cmpd="sng" algn="ctr">
              <a:solidFill>
                <a:srgbClr val="00AEE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fontAlgn="auto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Table Storage</a:t>
              </a:r>
            </a:p>
          </p:txBody>
        </p:sp>
      </p:grpSp>
      <p:cxnSp>
        <p:nvCxnSpPr>
          <p:cNvPr id="171" name="Straight Arrow Connector 50"/>
          <p:cNvCxnSpPr/>
          <p:nvPr>
            <p:custDataLst>
              <p:tags r:id="rId6"/>
            </p:custDataLst>
          </p:nvPr>
        </p:nvCxnSpPr>
        <p:spPr>
          <a:xfrm>
            <a:off x="1477963" y="4406900"/>
            <a:ext cx="1862137" cy="8683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173" name="Group 72"/>
          <p:cNvGrpSpPr/>
          <p:nvPr/>
        </p:nvGrpSpPr>
        <p:grpSpPr>
          <a:xfrm>
            <a:off x="484290" y="3768244"/>
            <a:ext cx="1207390" cy="794827"/>
            <a:chOff x="13073063" y="587375"/>
            <a:chExt cx="19038888" cy="12533313"/>
          </a:xfrm>
          <a:solidFill>
            <a:schemeClr val="accent2">
              <a:lumMod val="75000"/>
            </a:schemeClr>
          </a:solidFill>
        </p:grpSpPr>
        <p:sp>
          <p:nvSpPr>
            <p:cNvPr id="174" name="Freeform 12"/>
            <p:cNvSpPr>
              <a:spLocks/>
            </p:cNvSpPr>
            <p:nvPr/>
          </p:nvSpPr>
          <p:spPr bwMode="auto">
            <a:xfrm>
              <a:off x="13073063" y="5135563"/>
              <a:ext cx="3543300" cy="5521325"/>
            </a:xfrm>
            <a:custGeom>
              <a:avLst/>
              <a:gdLst>
                <a:gd name="T0" fmla="*/ 945 w 945"/>
                <a:gd name="T1" fmla="*/ 0 h 1472"/>
                <a:gd name="T2" fmla="*/ 945 w 945"/>
                <a:gd name="T3" fmla="*/ 0 h 1472"/>
                <a:gd name="T4" fmla="*/ 243 w 945"/>
                <a:gd name="T5" fmla="*/ 709 h 1472"/>
                <a:gd name="T6" fmla="*/ 486 w 945"/>
                <a:gd name="T7" fmla="*/ 1445 h 1472"/>
                <a:gd name="T8" fmla="*/ 486 w 945"/>
                <a:gd name="T9" fmla="*/ 927 h 1472"/>
                <a:gd name="T10" fmla="*/ 945 w 945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45" h="1472">
                  <a:moveTo>
                    <a:pt x="945" y="0"/>
                  </a:moveTo>
                  <a:cubicBezTo>
                    <a:pt x="945" y="0"/>
                    <a:pt x="945" y="0"/>
                    <a:pt x="945" y="0"/>
                  </a:cubicBezTo>
                  <a:cubicBezTo>
                    <a:pt x="783" y="55"/>
                    <a:pt x="459" y="191"/>
                    <a:pt x="243" y="709"/>
                  </a:cubicBezTo>
                  <a:cubicBezTo>
                    <a:pt x="0" y="1200"/>
                    <a:pt x="270" y="1472"/>
                    <a:pt x="486" y="1445"/>
                  </a:cubicBezTo>
                  <a:cubicBezTo>
                    <a:pt x="486" y="927"/>
                    <a:pt x="486" y="927"/>
                    <a:pt x="486" y="927"/>
                  </a:cubicBezTo>
                  <a:cubicBezTo>
                    <a:pt x="486" y="545"/>
                    <a:pt x="675" y="191"/>
                    <a:pt x="9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5" name="Freeform 13"/>
            <p:cNvSpPr>
              <a:spLocks/>
            </p:cNvSpPr>
            <p:nvPr/>
          </p:nvSpPr>
          <p:spPr bwMode="auto">
            <a:xfrm>
              <a:off x="21409025" y="5135563"/>
              <a:ext cx="3584575" cy="5521325"/>
            </a:xfrm>
            <a:custGeom>
              <a:avLst/>
              <a:gdLst>
                <a:gd name="T0" fmla="*/ 0 w 956"/>
                <a:gd name="T1" fmla="*/ 0 h 1472"/>
                <a:gd name="T2" fmla="*/ 0 w 956"/>
                <a:gd name="T3" fmla="*/ 0 h 1472"/>
                <a:gd name="T4" fmla="*/ 711 w 956"/>
                <a:gd name="T5" fmla="*/ 709 h 1472"/>
                <a:gd name="T6" fmla="*/ 465 w 956"/>
                <a:gd name="T7" fmla="*/ 1445 h 1472"/>
                <a:gd name="T8" fmla="*/ 465 w 956"/>
                <a:gd name="T9" fmla="*/ 927 h 1472"/>
                <a:gd name="T10" fmla="*/ 0 w 956"/>
                <a:gd name="T11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6" h="147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4" y="55"/>
                    <a:pt x="492" y="191"/>
                    <a:pt x="711" y="709"/>
                  </a:cubicBezTo>
                  <a:cubicBezTo>
                    <a:pt x="956" y="1200"/>
                    <a:pt x="683" y="1472"/>
                    <a:pt x="465" y="1445"/>
                  </a:cubicBezTo>
                  <a:cubicBezTo>
                    <a:pt x="465" y="927"/>
                    <a:pt x="465" y="927"/>
                    <a:pt x="465" y="927"/>
                  </a:cubicBezTo>
                  <a:cubicBezTo>
                    <a:pt x="465" y="545"/>
                    <a:pt x="274" y="19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6" name="Freeform 14"/>
            <p:cNvSpPr>
              <a:spLocks/>
            </p:cNvSpPr>
            <p:nvPr/>
          </p:nvSpPr>
          <p:spPr bwMode="auto">
            <a:xfrm>
              <a:off x="15495588" y="5421313"/>
              <a:ext cx="7038975" cy="7699375"/>
            </a:xfrm>
            <a:custGeom>
              <a:avLst/>
              <a:gdLst>
                <a:gd name="T0" fmla="*/ 1877 w 1877"/>
                <a:gd name="T1" fmla="*/ 794 h 2053"/>
                <a:gd name="T2" fmla="*/ 1577 w 1877"/>
                <a:gd name="T3" fmla="*/ 0 h 2053"/>
                <a:gd name="T4" fmla="*/ 952 w 1877"/>
                <a:gd name="T5" fmla="*/ 274 h 2053"/>
                <a:gd name="T6" fmla="*/ 353 w 1877"/>
                <a:gd name="T7" fmla="*/ 0 h 2053"/>
                <a:gd name="T8" fmla="*/ 0 w 1877"/>
                <a:gd name="T9" fmla="*/ 794 h 2053"/>
                <a:gd name="T10" fmla="*/ 0 w 1877"/>
                <a:gd name="T11" fmla="*/ 1615 h 2053"/>
                <a:gd name="T12" fmla="*/ 380 w 1877"/>
                <a:gd name="T13" fmla="*/ 2053 h 2053"/>
                <a:gd name="T14" fmla="*/ 1550 w 1877"/>
                <a:gd name="T15" fmla="*/ 2053 h 2053"/>
                <a:gd name="T16" fmla="*/ 1550 w 1877"/>
                <a:gd name="T17" fmla="*/ 2053 h 2053"/>
                <a:gd name="T18" fmla="*/ 1877 w 1877"/>
                <a:gd name="T19" fmla="*/ 1013 h 2053"/>
                <a:gd name="T20" fmla="*/ 1877 w 1877"/>
                <a:gd name="T21" fmla="*/ 794 h 2053"/>
                <a:gd name="T22" fmla="*/ 1877 w 1877"/>
                <a:gd name="T23" fmla="*/ 794 h 2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77" h="2053">
                  <a:moveTo>
                    <a:pt x="1877" y="794"/>
                  </a:moveTo>
                  <a:cubicBezTo>
                    <a:pt x="1877" y="493"/>
                    <a:pt x="1768" y="192"/>
                    <a:pt x="1577" y="0"/>
                  </a:cubicBezTo>
                  <a:cubicBezTo>
                    <a:pt x="1414" y="165"/>
                    <a:pt x="1196" y="274"/>
                    <a:pt x="952" y="274"/>
                  </a:cubicBezTo>
                  <a:cubicBezTo>
                    <a:pt x="707" y="274"/>
                    <a:pt x="489" y="165"/>
                    <a:pt x="353" y="0"/>
                  </a:cubicBezTo>
                  <a:cubicBezTo>
                    <a:pt x="136" y="192"/>
                    <a:pt x="0" y="493"/>
                    <a:pt x="0" y="794"/>
                  </a:cubicBezTo>
                  <a:cubicBezTo>
                    <a:pt x="0" y="1615"/>
                    <a:pt x="0" y="1615"/>
                    <a:pt x="0" y="1615"/>
                  </a:cubicBezTo>
                  <a:cubicBezTo>
                    <a:pt x="0" y="1862"/>
                    <a:pt x="190" y="2053"/>
                    <a:pt x="38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550" y="2053"/>
                    <a:pt x="1550" y="2053"/>
                    <a:pt x="1550" y="2053"/>
                  </a:cubicBezTo>
                  <a:cubicBezTo>
                    <a:pt x="1740" y="2053"/>
                    <a:pt x="1877" y="1944"/>
                    <a:pt x="1877" y="1013"/>
                  </a:cubicBezTo>
                  <a:cubicBezTo>
                    <a:pt x="1877" y="794"/>
                    <a:pt x="1877" y="794"/>
                    <a:pt x="1877" y="794"/>
                  </a:cubicBezTo>
                  <a:cubicBezTo>
                    <a:pt x="1877" y="794"/>
                    <a:pt x="1877" y="794"/>
                    <a:pt x="1877" y="7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7" name="Oval 15"/>
            <p:cNvSpPr>
              <a:spLocks noChangeArrowheads="1"/>
            </p:cNvSpPr>
            <p:nvPr/>
          </p:nvSpPr>
          <p:spPr bwMode="auto">
            <a:xfrm>
              <a:off x="16748125" y="1066800"/>
              <a:ext cx="4660900" cy="4662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78" name="Freeform 16"/>
            <p:cNvSpPr>
              <a:spLocks noEditPoints="1"/>
            </p:cNvSpPr>
            <p:nvPr/>
          </p:nvSpPr>
          <p:spPr bwMode="auto">
            <a:xfrm>
              <a:off x="23055263" y="587375"/>
              <a:ext cx="9056688" cy="7851775"/>
            </a:xfrm>
            <a:custGeom>
              <a:avLst/>
              <a:gdLst>
                <a:gd name="T0" fmla="*/ 1840 w 2415"/>
                <a:gd name="T1" fmla="*/ 0 h 2094"/>
                <a:gd name="T2" fmla="*/ 348 w 2415"/>
                <a:gd name="T3" fmla="*/ 1482 h 2094"/>
                <a:gd name="T4" fmla="*/ 365 w 2415"/>
                <a:gd name="T5" fmla="*/ 1612 h 2094"/>
                <a:gd name="T6" fmla="*/ 492 w 2415"/>
                <a:gd name="T7" fmla="*/ 1682 h 2094"/>
                <a:gd name="T8" fmla="*/ 1001 w 2415"/>
                <a:gd name="T9" fmla="*/ 1739 h 2094"/>
                <a:gd name="T10" fmla="*/ 1036 w 2415"/>
                <a:gd name="T11" fmla="*/ 1756 h 2094"/>
                <a:gd name="T12" fmla="*/ 1032 w 2415"/>
                <a:gd name="T13" fmla="*/ 1845 h 2094"/>
                <a:gd name="T14" fmla="*/ 1002 w 2415"/>
                <a:gd name="T15" fmla="*/ 1859 h 2094"/>
                <a:gd name="T16" fmla="*/ 2411 w 2415"/>
                <a:gd name="T17" fmla="*/ 2038 h 2094"/>
                <a:gd name="T18" fmla="*/ 558 w 2415"/>
                <a:gd name="T19" fmla="*/ 1534 h 2094"/>
                <a:gd name="T20" fmla="*/ 484 w 2415"/>
                <a:gd name="T21" fmla="*/ 1550 h 2094"/>
                <a:gd name="T22" fmla="*/ 430 w 2415"/>
                <a:gd name="T23" fmla="*/ 1482 h 2094"/>
                <a:gd name="T24" fmla="*/ 575 w 2415"/>
                <a:gd name="T25" fmla="*/ 1480 h 2094"/>
                <a:gd name="T26" fmla="*/ 768 w 2415"/>
                <a:gd name="T27" fmla="*/ 1675 h 2094"/>
                <a:gd name="T28" fmla="*/ 604 w 2415"/>
                <a:gd name="T29" fmla="*/ 1678 h 2094"/>
                <a:gd name="T30" fmla="*/ 762 w 2415"/>
                <a:gd name="T31" fmla="*/ 1593 h 2094"/>
                <a:gd name="T32" fmla="*/ 795 w 2415"/>
                <a:gd name="T33" fmla="*/ 1536 h 2094"/>
                <a:gd name="T34" fmla="*/ 654 w 2415"/>
                <a:gd name="T35" fmla="*/ 1489 h 2094"/>
                <a:gd name="T36" fmla="*/ 770 w 2415"/>
                <a:gd name="T37" fmla="*/ 1468 h 2094"/>
                <a:gd name="T38" fmla="*/ 1035 w 2415"/>
                <a:gd name="T39" fmla="*/ 1673 h 2094"/>
                <a:gd name="T40" fmla="*/ 870 w 2415"/>
                <a:gd name="T41" fmla="*/ 1678 h 2094"/>
                <a:gd name="T42" fmla="*/ 1038 w 2415"/>
                <a:gd name="T43" fmla="*/ 1615 h 2094"/>
                <a:gd name="T44" fmla="*/ 882 w 2415"/>
                <a:gd name="T45" fmla="*/ 1536 h 2094"/>
                <a:gd name="T46" fmla="*/ 894 w 2415"/>
                <a:gd name="T47" fmla="*/ 1476 h 2094"/>
                <a:gd name="T48" fmla="*/ 928 w 2415"/>
                <a:gd name="T49" fmla="*/ 1468 h 2094"/>
                <a:gd name="T50" fmla="*/ 231 w 2415"/>
                <a:gd name="T51" fmla="*/ 1302 h 2094"/>
                <a:gd name="T52" fmla="*/ 1880 w 2415"/>
                <a:gd name="T53" fmla="*/ 1540 h 2094"/>
                <a:gd name="T54" fmla="*/ 1723 w 2415"/>
                <a:gd name="T55" fmla="*/ 1525 h 2094"/>
                <a:gd name="T56" fmla="*/ 1818 w 2415"/>
                <a:gd name="T57" fmla="*/ 1467 h 2094"/>
                <a:gd name="T58" fmla="*/ 1121 w 2415"/>
                <a:gd name="T59" fmla="*/ 1536 h 2094"/>
                <a:gd name="T60" fmla="*/ 1137 w 2415"/>
                <a:gd name="T61" fmla="*/ 1470 h 2094"/>
                <a:gd name="T62" fmla="*/ 1272 w 2415"/>
                <a:gd name="T63" fmla="*/ 1534 h 2094"/>
                <a:gd name="T64" fmla="*/ 1144 w 2415"/>
                <a:gd name="T65" fmla="*/ 1547 h 2094"/>
                <a:gd name="T66" fmla="*/ 1126 w 2415"/>
                <a:gd name="T67" fmla="*/ 1657 h 2094"/>
                <a:gd name="T68" fmla="*/ 1300 w 2415"/>
                <a:gd name="T69" fmla="*/ 1672 h 2094"/>
                <a:gd name="T70" fmla="*/ 1274 w 2415"/>
                <a:gd name="T71" fmla="*/ 1687 h 2094"/>
                <a:gd name="T72" fmla="*/ 1147 w 2415"/>
                <a:gd name="T73" fmla="*/ 1683 h 2094"/>
                <a:gd name="T74" fmla="*/ 1193 w 2415"/>
                <a:gd name="T75" fmla="*/ 1859 h 2094"/>
                <a:gd name="T76" fmla="*/ 1139 w 2415"/>
                <a:gd name="T77" fmla="*/ 1824 h 2094"/>
                <a:gd name="T78" fmla="*/ 1143 w 2415"/>
                <a:gd name="T79" fmla="*/ 1749 h 2094"/>
                <a:gd name="T80" fmla="*/ 1166 w 2415"/>
                <a:gd name="T81" fmla="*/ 1739 h 2094"/>
                <a:gd name="T82" fmla="*/ 1284 w 2415"/>
                <a:gd name="T83" fmla="*/ 1739 h 2094"/>
                <a:gd name="T84" fmla="*/ 1328 w 2415"/>
                <a:gd name="T85" fmla="*/ 1790 h 2094"/>
                <a:gd name="T86" fmla="*/ 1472 w 2415"/>
                <a:gd name="T87" fmla="*/ 1481 h 2094"/>
                <a:gd name="T88" fmla="*/ 1607 w 2415"/>
                <a:gd name="T89" fmla="*/ 1473 h 2094"/>
                <a:gd name="T90" fmla="*/ 1630 w 2415"/>
                <a:gd name="T91" fmla="*/ 1545 h 2094"/>
                <a:gd name="T92" fmla="*/ 1505 w 2415"/>
                <a:gd name="T93" fmla="*/ 1541 h 2094"/>
                <a:gd name="T94" fmla="*/ 1525 w 2415"/>
                <a:gd name="T95" fmla="*/ 1596 h 2094"/>
                <a:gd name="T96" fmla="*/ 1712 w 2415"/>
                <a:gd name="T97" fmla="*/ 1672 h 2094"/>
                <a:gd name="T98" fmla="*/ 1686 w 2415"/>
                <a:gd name="T99" fmla="*/ 1687 h 2094"/>
                <a:gd name="T100" fmla="*/ 1790 w 2415"/>
                <a:gd name="T101" fmla="*/ 1847 h 2094"/>
                <a:gd name="T102" fmla="*/ 1649 w 2415"/>
                <a:gd name="T103" fmla="*/ 1857 h 2094"/>
                <a:gd name="T104" fmla="*/ 1603 w 2415"/>
                <a:gd name="T105" fmla="*/ 1737 h 2094"/>
                <a:gd name="T106" fmla="*/ 1763 w 2415"/>
                <a:gd name="T107" fmla="*/ 1765 h 2094"/>
                <a:gd name="T108" fmla="*/ 1770 w 2415"/>
                <a:gd name="T109" fmla="*/ 1604 h 2094"/>
                <a:gd name="T110" fmla="*/ 1975 w 2415"/>
                <a:gd name="T111" fmla="*/ 1676 h 2094"/>
                <a:gd name="T112" fmla="*/ 1814 w 2415"/>
                <a:gd name="T113" fmla="*/ 1675 h 2094"/>
                <a:gd name="T114" fmla="*/ 1891 w 2415"/>
                <a:gd name="T115" fmla="*/ 1824 h 2094"/>
                <a:gd name="T116" fmla="*/ 1979 w 2415"/>
                <a:gd name="T117" fmla="*/ 1736 h 2094"/>
                <a:gd name="T118" fmla="*/ 2089 w 2415"/>
                <a:gd name="T119" fmla="*/ 1829 h 2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15" h="2094">
                  <a:moveTo>
                    <a:pt x="2389" y="1883"/>
                  </a:moveTo>
                  <a:cubicBezTo>
                    <a:pt x="2381" y="1875"/>
                    <a:pt x="2375" y="1868"/>
                    <a:pt x="2369" y="1860"/>
                  </a:cubicBezTo>
                  <a:cubicBezTo>
                    <a:pt x="2335" y="1820"/>
                    <a:pt x="2301" y="1780"/>
                    <a:pt x="2267" y="1740"/>
                  </a:cubicBezTo>
                  <a:cubicBezTo>
                    <a:pt x="2191" y="1651"/>
                    <a:pt x="2117" y="1563"/>
                    <a:pt x="2041" y="1475"/>
                  </a:cubicBezTo>
                  <a:cubicBezTo>
                    <a:pt x="2038" y="1471"/>
                    <a:pt x="2034" y="1465"/>
                    <a:pt x="2030" y="1461"/>
                  </a:cubicBezTo>
                  <a:cubicBezTo>
                    <a:pt x="2014" y="1443"/>
                    <a:pt x="1991" y="1432"/>
                    <a:pt x="1968" y="1424"/>
                  </a:cubicBezTo>
                  <a:cubicBezTo>
                    <a:pt x="1944" y="1416"/>
                    <a:pt x="1918" y="1411"/>
                    <a:pt x="1892" y="1410"/>
                  </a:cubicBezTo>
                  <a:cubicBezTo>
                    <a:pt x="1982" y="1386"/>
                    <a:pt x="2049" y="1306"/>
                    <a:pt x="2049" y="1209"/>
                  </a:cubicBezTo>
                  <a:cubicBezTo>
                    <a:pt x="2049" y="208"/>
                    <a:pt x="2049" y="208"/>
                    <a:pt x="2049" y="208"/>
                  </a:cubicBezTo>
                  <a:cubicBezTo>
                    <a:pt x="2049" y="93"/>
                    <a:pt x="1954" y="0"/>
                    <a:pt x="1840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94" y="0"/>
                    <a:pt x="0" y="93"/>
                    <a:pt x="0" y="208"/>
                  </a:cubicBezTo>
                  <a:cubicBezTo>
                    <a:pt x="0" y="1209"/>
                    <a:pt x="0" y="1209"/>
                    <a:pt x="0" y="1209"/>
                  </a:cubicBezTo>
                  <a:cubicBezTo>
                    <a:pt x="0" y="1215"/>
                    <a:pt x="0" y="1220"/>
                    <a:pt x="1" y="1226"/>
                  </a:cubicBezTo>
                  <a:cubicBezTo>
                    <a:pt x="85" y="1281"/>
                    <a:pt x="176" y="1358"/>
                    <a:pt x="263" y="1469"/>
                  </a:cubicBezTo>
                  <a:cubicBezTo>
                    <a:pt x="275" y="1469"/>
                    <a:pt x="287" y="1470"/>
                    <a:pt x="297" y="1470"/>
                  </a:cubicBezTo>
                  <a:cubicBezTo>
                    <a:pt x="310" y="1470"/>
                    <a:pt x="326" y="1467"/>
                    <a:pt x="338" y="1473"/>
                  </a:cubicBezTo>
                  <a:cubicBezTo>
                    <a:pt x="340" y="1474"/>
                    <a:pt x="341" y="1475"/>
                    <a:pt x="342" y="1475"/>
                  </a:cubicBezTo>
                  <a:cubicBezTo>
                    <a:pt x="342" y="1475"/>
                    <a:pt x="342" y="1476"/>
                    <a:pt x="343" y="1476"/>
                  </a:cubicBezTo>
                  <a:cubicBezTo>
                    <a:pt x="345" y="1477"/>
                    <a:pt x="348" y="1480"/>
                    <a:pt x="348" y="1482"/>
                  </a:cubicBezTo>
                  <a:cubicBezTo>
                    <a:pt x="349" y="1484"/>
                    <a:pt x="349" y="1487"/>
                    <a:pt x="347" y="1489"/>
                  </a:cubicBezTo>
                  <a:cubicBezTo>
                    <a:pt x="345" y="1491"/>
                    <a:pt x="345" y="1491"/>
                    <a:pt x="345" y="1491"/>
                  </a:cubicBezTo>
                  <a:cubicBezTo>
                    <a:pt x="343" y="1497"/>
                    <a:pt x="338" y="1506"/>
                    <a:pt x="335" y="1511"/>
                  </a:cubicBezTo>
                  <a:cubicBezTo>
                    <a:pt x="325" y="1528"/>
                    <a:pt x="325" y="1528"/>
                    <a:pt x="325" y="1528"/>
                  </a:cubicBezTo>
                  <a:cubicBezTo>
                    <a:pt x="324" y="1531"/>
                    <a:pt x="321" y="1534"/>
                    <a:pt x="318" y="1537"/>
                  </a:cubicBezTo>
                  <a:cubicBezTo>
                    <a:pt x="316" y="1537"/>
                    <a:pt x="315" y="1538"/>
                    <a:pt x="314" y="1539"/>
                  </a:cubicBezTo>
                  <a:cubicBezTo>
                    <a:pt x="330" y="1563"/>
                    <a:pt x="346" y="1589"/>
                    <a:pt x="362" y="1615"/>
                  </a:cubicBezTo>
                  <a:cubicBezTo>
                    <a:pt x="362" y="1615"/>
                    <a:pt x="363" y="1615"/>
                    <a:pt x="363" y="1615"/>
                  </a:cubicBezTo>
                  <a:cubicBezTo>
                    <a:pt x="363" y="1614"/>
                    <a:pt x="364" y="1613"/>
                    <a:pt x="364" y="1612"/>
                  </a:cubicBezTo>
                  <a:cubicBezTo>
                    <a:pt x="364" y="1612"/>
                    <a:pt x="364" y="1612"/>
                    <a:pt x="365" y="1612"/>
                  </a:cubicBezTo>
                  <a:cubicBezTo>
                    <a:pt x="383" y="1587"/>
                    <a:pt x="425" y="1592"/>
                    <a:pt x="452" y="1592"/>
                  </a:cubicBezTo>
                  <a:cubicBezTo>
                    <a:pt x="459" y="1592"/>
                    <a:pt x="479" y="1590"/>
                    <a:pt x="496" y="1592"/>
                  </a:cubicBezTo>
                  <a:cubicBezTo>
                    <a:pt x="502" y="1592"/>
                    <a:pt x="508" y="1592"/>
                    <a:pt x="512" y="1593"/>
                  </a:cubicBezTo>
                  <a:cubicBezTo>
                    <a:pt x="515" y="1594"/>
                    <a:pt x="518" y="1595"/>
                    <a:pt x="520" y="1596"/>
                  </a:cubicBezTo>
                  <a:cubicBezTo>
                    <a:pt x="526" y="1599"/>
                    <a:pt x="531" y="1605"/>
                    <a:pt x="531" y="1611"/>
                  </a:cubicBezTo>
                  <a:cubicBezTo>
                    <a:pt x="531" y="1612"/>
                    <a:pt x="531" y="1612"/>
                    <a:pt x="531" y="1613"/>
                  </a:cubicBezTo>
                  <a:cubicBezTo>
                    <a:pt x="531" y="1614"/>
                    <a:pt x="531" y="1615"/>
                    <a:pt x="531" y="1616"/>
                  </a:cubicBezTo>
                  <a:cubicBezTo>
                    <a:pt x="513" y="1663"/>
                    <a:pt x="513" y="1663"/>
                    <a:pt x="513" y="1663"/>
                  </a:cubicBezTo>
                  <a:cubicBezTo>
                    <a:pt x="512" y="1667"/>
                    <a:pt x="509" y="1671"/>
                    <a:pt x="506" y="1674"/>
                  </a:cubicBezTo>
                  <a:cubicBezTo>
                    <a:pt x="502" y="1677"/>
                    <a:pt x="497" y="1680"/>
                    <a:pt x="492" y="1682"/>
                  </a:cubicBezTo>
                  <a:cubicBezTo>
                    <a:pt x="492" y="1683"/>
                    <a:pt x="491" y="1683"/>
                    <a:pt x="491" y="1683"/>
                  </a:cubicBezTo>
                  <a:cubicBezTo>
                    <a:pt x="484" y="1686"/>
                    <a:pt x="477" y="1688"/>
                    <a:pt x="469" y="1690"/>
                  </a:cubicBezTo>
                  <a:cubicBezTo>
                    <a:pt x="467" y="1690"/>
                    <a:pt x="467" y="1690"/>
                    <a:pt x="467" y="1690"/>
                  </a:cubicBezTo>
                  <a:cubicBezTo>
                    <a:pt x="465" y="1690"/>
                    <a:pt x="464" y="1690"/>
                    <a:pt x="463" y="1690"/>
                  </a:cubicBezTo>
                  <a:cubicBezTo>
                    <a:pt x="449" y="1691"/>
                    <a:pt x="433" y="1690"/>
                    <a:pt x="418" y="1690"/>
                  </a:cubicBezTo>
                  <a:cubicBezTo>
                    <a:pt x="413" y="1690"/>
                    <a:pt x="409" y="1690"/>
                    <a:pt x="404" y="1690"/>
                  </a:cubicBezTo>
                  <a:cubicBezTo>
                    <a:pt x="412" y="1706"/>
                    <a:pt x="420" y="1723"/>
                    <a:pt x="428" y="1739"/>
                  </a:cubicBezTo>
                  <a:cubicBezTo>
                    <a:pt x="592" y="1739"/>
                    <a:pt x="954" y="1738"/>
                    <a:pt x="971" y="1738"/>
                  </a:cubicBezTo>
                  <a:cubicBezTo>
                    <a:pt x="977" y="1738"/>
                    <a:pt x="985" y="1738"/>
                    <a:pt x="992" y="1738"/>
                  </a:cubicBezTo>
                  <a:cubicBezTo>
                    <a:pt x="995" y="1738"/>
                    <a:pt x="998" y="1738"/>
                    <a:pt x="1001" y="1739"/>
                  </a:cubicBezTo>
                  <a:cubicBezTo>
                    <a:pt x="1002" y="1739"/>
                    <a:pt x="1002" y="1739"/>
                    <a:pt x="1002" y="1739"/>
                  </a:cubicBezTo>
                  <a:cubicBezTo>
                    <a:pt x="1004" y="1739"/>
                    <a:pt x="1007" y="1739"/>
                    <a:pt x="1009" y="1740"/>
                  </a:cubicBezTo>
                  <a:cubicBezTo>
                    <a:pt x="1010" y="1740"/>
                    <a:pt x="1010" y="1740"/>
                    <a:pt x="1010" y="1740"/>
                  </a:cubicBezTo>
                  <a:cubicBezTo>
                    <a:pt x="1013" y="1741"/>
                    <a:pt x="1016" y="1742"/>
                    <a:pt x="1018" y="1743"/>
                  </a:cubicBezTo>
                  <a:cubicBezTo>
                    <a:pt x="1019" y="1743"/>
                    <a:pt x="1019" y="1743"/>
                    <a:pt x="1019" y="1743"/>
                  </a:cubicBezTo>
                  <a:cubicBezTo>
                    <a:pt x="1021" y="1744"/>
                    <a:pt x="1023" y="1745"/>
                    <a:pt x="1025" y="1746"/>
                  </a:cubicBezTo>
                  <a:cubicBezTo>
                    <a:pt x="1025" y="1746"/>
                    <a:pt x="1025" y="1746"/>
                    <a:pt x="1026" y="1746"/>
                  </a:cubicBezTo>
                  <a:cubicBezTo>
                    <a:pt x="1026" y="1747"/>
                    <a:pt x="1026" y="1747"/>
                    <a:pt x="1026" y="1747"/>
                  </a:cubicBezTo>
                  <a:cubicBezTo>
                    <a:pt x="1028" y="1748"/>
                    <a:pt x="1029" y="1749"/>
                    <a:pt x="1030" y="1750"/>
                  </a:cubicBezTo>
                  <a:cubicBezTo>
                    <a:pt x="1032" y="1751"/>
                    <a:pt x="1034" y="1753"/>
                    <a:pt x="1036" y="1756"/>
                  </a:cubicBezTo>
                  <a:cubicBezTo>
                    <a:pt x="1038" y="1759"/>
                    <a:pt x="1040" y="1763"/>
                    <a:pt x="1040" y="1768"/>
                  </a:cubicBezTo>
                  <a:cubicBezTo>
                    <a:pt x="1040" y="1771"/>
                    <a:pt x="1040" y="1771"/>
                    <a:pt x="1040" y="1771"/>
                  </a:cubicBezTo>
                  <a:cubicBezTo>
                    <a:pt x="1040" y="1785"/>
                    <a:pt x="1040" y="1801"/>
                    <a:pt x="1040" y="1815"/>
                  </a:cubicBezTo>
                  <a:cubicBezTo>
                    <a:pt x="1040" y="1819"/>
                    <a:pt x="1041" y="1822"/>
                    <a:pt x="1040" y="1826"/>
                  </a:cubicBezTo>
                  <a:cubicBezTo>
                    <a:pt x="1040" y="1828"/>
                    <a:pt x="1040" y="1830"/>
                    <a:pt x="1039" y="1832"/>
                  </a:cubicBezTo>
                  <a:cubicBezTo>
                    <a:pt x="1039" y="1834"/>
                    <a:pt x="1039" y="1834"/>
                    <a:pt x="1039" y="1834"/>
                  </a:cubicBezTo>
                  <a:cubicBezTo>
                    <a:pt x="1038" y="1836"/>
                    <a:pt x="1038" y="1838"/>
                    <a:pt x="1037" y="1839"/>
                  </a:cubicBezTo>
                  <a:cubicBezTo>
                    <a:pt x="1037" y="1839"/>
                    <a:pt x="1037" y="1839"/>
                    <a:pt x="1037" y="1840"/>
                  </a:cubicBezTo>
                  <a:cubicBezTo>
                    <a:pt x="1036" y="1840"/>
                    <a:pt x="1036" y="1840"/>
                    <a:pt x="1036" y="1840"/>
                  </a:cubicBezTo>
                  <a:cubicBezTo>
                    <a:pt x="1035" y="1842"/>
                    <a:pt x="1034" y="1844"/>
                    <a:pt x="1032" y="1845"/>
                  </a:cubicBezTo>
                  <a:cubicBezTo>
                    <a:pt x="1030" y="1847"/>
                    <a:pt x="1029" y="1848"/>
                    <a:pt x="1027" y="1850"/>
                  </a:cubicBezTo>
                  <a:cubicBezTo>
                    <a:pt x="1026" y="1850"/>
                    <a:pt x="1026" y="1850"/>
                    <a:pt x="1026" y="1850"/>
                  </a:cubicBezTo>
                  <a:cubicBezTo>
                    <a:pt x="1025" y="1851"/>
                    <a:pt x="1025" y="1851"/>
                    <a:pt x="1025" y="1851"/>
                  </a:cubicBezTo>
                  <a:cubicBezTo>
                    <a:pt x="1023" y="1852"/>
                    <a:pt x="1021" y="1853"/>
                    <a:pt x="1019" y="1854"/>
                  </a:cubicBezTo>
                  <a:cubicBezTo>
                    <a:pt x="1019" y="1854"/>
                    <a:pt x="1019" y="1854"/>
                    <a:pt x="1018" y="1854"/>
                  </a:cubicBezTo>
                  <a:cubicBezTo>
                    <a:pt x="1017" y="1855"/>
                    <a:pt x="1015" y="1856"/>
                    <a:pt x="1013" y="1856"/>
                  </a:cubicBezTo>
                  <a:cubicBezTo>
                    <a:pt x="1012" y="1856"/>
                    <a:pt x="1011" y="1857"/>
                    <a:pt x="1010" y="1857"/>
                  </a:cubicBezTo>
                  <a:cubicBezTo>
                    <a:pt x="1010" y="1857"/>
                    <a:pt x="1010" y="1857"/>
                    <a:pt x="1009" y="1857"/>
                  </a:cubicBezTo>
                  <a:cubicBezTo>
                    <a:pt x="1009" y="1857"/>
                    <a:pt x="1008" y="1857"/>
                    <a:pt x="1008" y="1858"/>
                  </a:cubicBezTo>
                  <a:cubicBezTo>
                    <a:pt x="1006" y="1858"/>
                    <a:pt x="1004" y="1858"/>
                    <a:pt x="1002" y="1859"/>
                  </a:cubicBezTo>
                  <a:cubicBezTo>
                    <a:pt x="1000" y="1859"/>
                    <a:pt x="998" y="1859"/>
                    <a:pt x="997" y="1859"/>
                  </a:cubicBezTo>
                  <a:cubicBezTo>
                    <a:pt x="995" y="1860"/>
                    <a:pt x="993" y="1860"/>
                    <a:pt x="991" y="1860"/>
                  </a:cubicBezTo>
                  <a:cubicBezTo>
                    <a:pt x="991" y="1860"/>
                    <a:pt x="990" y="1860"/>
                    <a:pt x="989" y="1860"/>
                  </a:cubicBezTo>
                  <a:cubicBezTo>
                    <a:pt x="987" y="1860"/>
                    <a:pt x="987" y="1860"/>
                    <a:pt x="987" y="1860"/>
                  </a:cubicBezTo>
                  <a:cubicBezTo>
                    <a:pt x="976" y="1860"/>
                    <a:pt x="965" y="1860"/>
                    <a:pt x="955" y="1860"/>
                  </a:cubicBezTo>
                  <a:cubicBezTo>
                    <a:pt x="922" y="1860"/>
                    <a:pt x="668" y="1861"/>
                    <a:pt x="484" y="1862"/>
                  </a:cubicBezTo>
                  <a:cubicBezTo>
                    <a:pt x="517" y="1942"/>
                    <a:pt x="531" y="2020"/>
                    <a:pt x="532" y="2094"/>
                  </a:cubicBezTo>
                  <a:cubicBezTo>
                    <a:pt x="1249" y="2094"/>
                    <a:pt x="2201" y="2094"/>
                    <a:pt x="2246" y="2094"/>
                  </a:cubicBezTo>
                  <a:cubicBezTo>
                    <a:pt x="2281" y="2094"/>
                    <a:pt x="2322" y="2090"/>
                    <a:pt x="2357" y="2083"/>
                  </a:cubicBezTo>
                  <a:cubicBezTo>
                    <a:pt x="2380" y="2079"/>
                    <a:pt x="2408" y="2066"/>
                    <a:pt x="2411" y="2038"/>
                  </a:cubicBezTo>
                  <a:cubicBezTo>
                    <a:pt x="2411" y="1941"/>
                    <a:pt x="2411" y="1941"/>
                    <a:pt x="2411" y="1941"/>
                  </a:cubicBezTo>
                  <a:cubicBezTo>
                    <a:pt x="2415" y="1919"/>
                    <a:pt x="2402" y="1898"/>
                    <a:pt x="2389" y="1883"/>
                  </a:cubicBezTo>
                  <a:close/>
                  <a:moveTo>
                    <a:pt x="566" y="1519"/>
                  </a:moveTo>
                  <a:cubicBezTo>
                    <a:pt x="566" y="1520"/>
                    <a:pt x="566" y="1520"/>
                    <a:pt x="566" y="1520"/>
                  </a:cubicBezTo>
                  <a:cubicBezTo>
                    <a:pt x="565" y="1522"/>
                    <a:pt x="564" y="1524"/>
                    <a:pt x="563" y="1526"/>
                  </a:cubicBezTo>
                  <a:cubicBezTo>
                    <a:pt x="563" y="1527"/>
                    <a:pt x="563" y="1527"/>
                    <a:pt x="563" y="1527"/>
                  </a:cubicBezTo>
                  <a:cubicBezTo>
                    <a:pt x="563" y="1528"/>
                    <a:pt x="562" y="1529"/>
                    <a:pt x="562" y="1529"/>
                  </a:cubicBezTo>
                  <a:cubicBezTo>
                    <a:pt x="562" y="1530"/>
                    <a:pt x="561" y="1530"/>
                    <a:pt x="561" y="1531"/>
                  </a:cubicBezTo>
                  <a:cubicBezTo>
                    <a:pt x="561" y="1531"/>
                    <a:pt x="560" y="1532"/>
                    <a:pt x="560" y="1533"/>
                  </a:cubicBezTo>
                  <a:cubicBezTo>
                    <a:pt x="558" y="1533"/>
                    <a:pt x="558" y="1533"/>
                    <a:pt x="558" y="1534"/>
                  </a:cubicBezTo>
                  <a:cubicBezTo>
                    <a:pt x="557" y="1534"/>
                    <a:pt x="557" y="1534"/>
                    <a:pt x="557" y="1534"/>
                  </a:cubicBezTo>
                  <a:cubicBezTo>
                    <a:pt x="556" y="1536"/>
                    <a:pt x="556" y="1536"/>
                    <a:pt x="556" y="1537"/>
                  </a:cubicBezTo>
                  <a:cubicBezTo>
                    <a:pt x="554" y="1538"/>
                    <a:pt x="553" y="1539"/>
                    <a:pt x="551" y="1540"/>
                  </a:cubicBezTo>
                  <a:cubicBezTo>
                    <a:pt x="549" y="1541"/>
                    <a:pt x="547" y="1542"/>
                    <a:pt x="546" y="1543"/>
                  </a:cubicBezTo>
                  <a:cubicBezTo>
                    <a:pt x="545" y="1543"/>
                    <a:pt x="545" y="1543"/>
                    <a:pt x="545" y="1543"/>
                  </a:cubicBezTo>
                  <a:cubicBezTo>
                    <a:pt x="544" y="1544"/>
                    <a:pt x="544" y="1544"/>
                    <a:pt x="544" y="1544"/>
                  </a:cubicBezTo>
                  <a:cubicBezTo>
                    <a:pt x="538" y="1546"/>
                    <a:pt x="532" y="1548"/>
                    <a:pt x="526" y="1549"/>
                  </a:cubicBezTo>
                  <a:cubicBezTo>
                    <a:pt x="524" y="1549"/>
                    <a:pt x="522" y="1549"/>
                    <a:pt x="520" y="1549"/>
                  </a:cubicBezTo>
                  <a:cubicBezTo>
                    <a:pt x="520" y="1549"/>
                    <a:pt x="520" y="1550"/>
                    <a:pt x="519" y="1550"/>
                  </a:cubicBezTo>
                  <a:cubicBezTo>
                    <a:pt x="508" y="1551"/>
                    <a:pt x="496" y="1550"/>
                    <a:pt x="484" y="1550"/>
                  </a:cubicBezTo>
                  <a:cubicBezTo>
                    <a:pt x="435" y="1550"/>
                    <a:pt x="435" y="1550"/>
                    <a:pt x="435" y="1550"/>
                  </a:cubicBezTo>
                  <a:cubicBezTo>
                    <a:pt x="425" y="1550"/>
                    <a:pt x="408" y="1548"/>
                    <a:pt x="403" y="1537"/>
                  </a:cubicBezTo>
                  <a:cubicBezTo>
                    <a:pt x="403" y="1536"/>
                    <a:pt x="403" y="1534"/>
                    <a:pt x="403" y="1533"/>
                  </a:cubicBezTo>
                  <a:cubicBezTo>
                    <a:pt x="403" y="1532"/>
                    <a:pt x="403" y="1532"/>
                    <a:pt x="403" y="1531"/>
                  </a:cubicBezTo>
                  <a:cubicBezTo>
                    <a:pt x="404" y="1527"/>
                    <a:pt x="408" y="1523"/>
                    <a:pt x="410" y="1519"/>
                  </a:cubicBezTo>
                  <a:cubicBezTo>
                    <a:pt x="414" y="1509"/>
                    <a:pt x="418" y="1494"/>
                    <a:pt x="426" y="1486"/>
                  </a:cubicBezTo>
                  <a:cubicBezTo>
                    <a:pt x="426" y="1485"/>
                    <a:pt x="427" y="1485"/>
                    <a:pt x="427" y="1485"/>
                  </a:cubicBezTo>
                  <a:cubicBezTo>
                    <a:pt x="428" y="1484"/>
                    <a:pt x="428" y="1484"/>
                    <a:pt x="428" y="1483"/>
                  </a:cubicBezTo>
                  <a:cubicBezTo>
                    <a:pt x="429" y="1483"/>
                    <a:pt x="429" y="1483"/>
                    <a:pt x="429" y="1483"/>
                  </a:cubicBezTo>
                  <a:cubicBezTo>
                    <a:pt x="430" y="1482"/>
                    <a:pt x="430" y="1482"/>
                    <a:pt x="430" y="1482"/>
                  </a:cubicBezTo>
                  <a:cubicBezTo>
                    <a:pt x="431" y="1481"/>
                    <a:pt x="431" y="1481"/>
                    <a:pt x="431" y="1481"/>
                  </a:cubicBezTo>
                  <a:cubicBezTo>
                    <a:pt x="439" y="1476"/>
                    <a:pt x="447" y="1473"/>
                    <a:pt x="456" y="1472"/>
                  </a:cubicBezTo>
                  <a:cubicBezTo>
                    <a:pt x="456" y="1472"/>
                    <a:pt x="456" y="1471"/>
                    <a:pt x="457" y="1471"/>
                  </a:cubicBezTo>
                  <a:cubicBezTo>
                    <a:pt x="462" y="1470"/>
                    <a:pt x="467" y="1470"/>
                    <a:pt x="473" y="1470"/>
                  </a:cubicBezTo>
                  <a:cubicBezTo>
                    <a:pt x="503" y="1470"/>
                    <a:pt x="503" y="1470"/>
                    <a:pt x="503" y="1470"/>
                  </a:cubicBezTo>
                  <a:cubicBezTo>
                    <a:pt x="512" y="1470"/>
                    <a:pt x="521" y="1470"/>
                    <a:pt x="531" y="1470"/>
                  </a:cubicBezTo>
                  <a:cubicBezTo>
                    <a:pt x="544" y="1470"/>
                    <a:pt x="563" y="1467"/>
                    <a:pt x="573" y="1477"/>
                  </a:cubicBezTo>
                  <a:cubicBezTo>
                    <a:pt x="573" y="1478"/>
                    <a:pt x="574" y="1478"/>
                    <a:pt x="574" y="1479"/>
                  </a:cubicBezTo>
                  <a:cubicBezTo>
                    <a:pt x="575" y="1479"/>
                    <a:pt x="575" y="1479"/>
                    <a:pt x="575" y="1479"/>
                  </a:cubicBezTo>
                  <a:cubicBezTo>
                    <a:pt x="575" y="1480"/>
                    <a:pt x="575" y="1480"/>
                    <a:pt x="575" y="1480"/>
                  </a:cubicBezTo>
                  <a:cubicBezTo>
                    <a:pt x="576" y="1480"/>
                    <a:pt x="576" y="1481"/>
                    <a:pt x="576" y="1481"/>
                  </a:cubicBezTo>
                  <a:cubicBezTo>
                    <a:pt x="577" y="1483"/>
                    <a:pt x="577" y="1485"/>
                    <a:pt x="577" y="1487"/>
                  </a:cubicBezTo>
                  <a:cubicBezTo>
                    <a:pt x="576" y="1497"/>
                    <a:pt x="568" y="1513"/>
                    <a:pt x="566" y="1519"/>
                  </a:cubicBezTo>
                  <a:close/>
                  <a:moveTo>
                    <a:pt x="784" y="1616"/>
                  </a:moveTo>
                  <a:cubicBezTo>
                    <a:pt x="784" y="1618"/>
                    <a:pt x="784" y="1618"/>
                    <a:pt x="784" y="1618"/>
                  </a:cubicBezTo>
                  <a:cubicBezTo>
                    <a:pt x="783" y="1625"/>
                    <a:pt x="781" y="1632"/>
                    <a:pt x="780" y="1639"/>
                  </a:cubicBezTo>
                  <a:cubicBezTo>
                    <a:pt x="776" y="1662"/>
                    <a:pt x="776" y="1662"/>
                    <a:pt x="776" y="1662"/>
                  </a:cubicBezTo>
                  <a:cubicBezTo>
                    <a:pt x="776" y="1667"/>
                    <a:pt x="774" y="1670"/>
                    <a:pt x="770" y="1673"/>
                  </a:cubicBezTo>
                  <a:cubicBezTo>
                    <a:pt x="770" y="1674"/>
                    <a:pt x="769" y="1674"/>
                    <a:pt x="769" y="1674"/>
                  </a:cubicBezTo>
                  <a:cubicBezTo>
                    <a:pt x="769" y="1675"/>
                    <a:pt x="768" y="1675"/>
                    <a:pt x="768" y="1675"/>
                  </a:cubicBezTo>
                  <a:cubicBezTo>
                    <a:pt x="767" y="1676"/>
                    <a:pt x="766" y="1677"/>
                    <a:pt x="765" y="1678"/>
                  </a:cubicBezTo>
                  <a:cubicBezTo>
                    <a:pt x="759" y="1683"/>
                    <a:pt x="751" y="1686"/>
                    <a:pt x="744" y="1687"/>
                  </a:cubicBezTo>
                  <a:cubicBezTo>
                    <a:pt x="744" y="1688"/>
                    <a:pt x="744" y="1688"/>
                    <a:pt x="744" y="1688"/>
                  </a:cubicBezTo>
                  <a:cubicBezTo>
                    <a:pt x="743" y="1688"/>
                    <a:pt x="743" y="1688"/>
                    <a:pt x="743" y="1688"/>
                  </a:cubicBezTo>
                  <a:cubicBezTo>
                    <a:pt x="740" y="1688"/>
                    <a:pt x="738" y="1689"/>
                    <a:pt x="735" y="1689"/>
                  </a:cubicBezTo>
                  <a:cubicBezTo>
                    <a:pt x="735" y="1689"/>
                    <a:pt x="734" y="1689"/>
                    <a:pt x="733" y="1689"/>
                  </a:cubicBezTo>
                  <a:cubicBezTo>
                    <a:pt x="730" y="1689"/>
                    <a:pt x="728" y="1690"/>
                    <a:pt x="725" y="1690"/>
                  </a:cubicBezTo>
                  <a:cubicBezTo>
                    <a:pt x="639" y="1690"/>
                    <a:pt x="639" y="1690"/>
                    <a:pt x="639" y="1690"/>
                  </a:cubicBezTo>
                  <a:cubicBezTo>
                    <a:pt x="629" y="1690"/>
                    <a:pt x="617" y="1688"/>
                    <a:pt x="609" y="1682"/>
                  </a:cubicBezTo>
                  <a:cubicBezTo>
                    <a:pt x="607" y="1681"/>
                    <a:pt x="606" y="1680"/>
                    <a:pt x="604" y="1678"/>
                  </a:cubicBezTo>
                  <a:cubicBezTo>
                    <a:pt x="603" y="1677"/>
                    <a:pt x="603" y="1676"/>
                    <a:pt x="602" y="1675"/>
                  </a:cubicBezTo>
                  <a:cubicBezTo>
                    <a:pt x="602" y="1674"/>
                    <a:pt x="602" y="1674"/>
                    <a:pt x="602" y="1674"/>
                  </a:cubicBezTo>
                  <a:cubicBezTo>
                    <a:pt x="600" y="1671"/>
                    <a:pt x="600" y="1667"/>
                    <a:pt x="601" y="1663"/>
                  </a:cubicBezTo>
                  <a:cubicBezTo>
                    <a:pt x="603" y="1657"/>
                    <a:pt x="603" y="1657"/>
                    <a:pt x="603" y="1657"/>
                  </a:cubicBezTo>
                  <a:cubicBezTo>
                    <a:pt x="603" y="1656"/>
                    <a:pt x="603" y="1655"/>
                    <a:pt x="604" y="1654"/>
                  </a:cubicBezTo>
                  <a:cubicBezTo>
                    <a:pt x="615" y="1616"/>
                    <a:pt x="615" y="1616"/>
                    <a:pt x="615" y="1616"/>
                  </a:cubicBezTo>
                  <a:cubicBezTo>
                    <a:pt x="615" y="1615"/>
                    <a:pt x="615" y="1615"/>
                    <a:pt x="616" y="1614"/>
                  </a:cubicBezTo>
                  <a:cubicBezTo>
                    <a:pt x="628" y="1585"/>
                    <a:pt x="681" y="1591"/>
                    <a:pt x="705" y="1591"/>
                  </a:cubicBezTo>
                  <a:cubicBezTo>
                    <a:pt x="716" y="1591"/>
                    <a:pt x="735" y="1590"/>
                    <a:pt x="753" y="1591"/>
                  </a:cubicBezTo>
                  <a:cubicBezTo>
                    <a:pt x="756" y="1592"/>
                    <a:pt x="759" y="1592"/>
                    <a:pt x="762" y="1593"/>
                  </a:cubicBezTo>
                  <a:cubicBezTo>
                    <a:pt x="762" y="1593"/>
                    <a:pt x="762" y="1593"/>
                    <a:pt x="763" y="1593"/>
                  </a:cubicBezTo>
                  <a:cubicBezTo>
                    <a:pt x="771" y="1595"/>
                    <a:pt x="779" y="1599"/>
                    <a:pt x="782" y="1605"/>
                  </a:cubicBezTo>
                  <a:cubicBezTo>
                    <a:pt x="782" y="1606"/>
                    <a:pt x="782" y="1606"/>
                    <a:pt x="783" y="1606"/>
                  </a:cubicBezTo>
                  <a:cubicBezTo>
                    <a:pt x="783" y="1607"/>
                    <a:pt x="783" y="1607"/>
                    <a:pt x="783" y="1607"/>
                  </a:cubicBezTo>
                  <a:cubicBezTo>
                    <a:pt x="783" y="1608"/>
                    <a:pt x="783" y="1608"/>
                    <a:pt x="783" y="1608"/>
                  </a:cubicBezTo>
                  <a:cubicBezTo>
                    <a:pt x="784" y="1610"/>
                    <a:pt x="785" y="1613"/>
                    <a:pt x="784" y="1616"/>
                  </a:cubicBezTo>
                  <a:close/>
                  <a:moveTo>
                    <a:pt x="800" y="1524"/>
                  </a:moveTo>
                  <a:cubicBezTo>
                    <a:pt x="799" y="1527"/>
                    <a:pt x="799" y="1527"/>
                    <a:pt x="799" y="1527"/>
                  </a:cubicBezTo>
                  <a:cubicBezTo>
                    <a:pt x="799" y="1529"/>
                    <a:pt x="798" y="1531"/>
                    <a:pt x="796" y="1533"/>
                  </a:cubicBezTo>
                  <a:cubicBezTo>
                    <a:pt x="796" y="1534"/>
                    <a:pt x="795" y="1534"/>
                    <a:pt x="795" y="1536"/>
                  </a:cubicBezTo>
                  <a:cubicBezTo>
                    <a:pt x="795" y="1536"/>
                    <a:pt x="795" y="1536"/>
                    <a:pt x="794" y="1536"/>
                  </a:cubicBezTo>
                  <a:cubicBezTo>
                    <a:pt x="779" y="1554"/>
                    <a:pt x="736" y="1549"/>
                    <a:pt x="716" y="1549"/>
                  </a:cubicBezTo>
                  <a:cubicBezTo>
                    <a:pt x="703" y="1549"/>
                    <a:pt x="690" y="1549"/>
                    <a:pt x="677" y="1549"/>
                  </a:cubicBezTo>
                  <a:cubicBezTo>
                    <a:pt x="666" y="1549"/>
                    <a:pt x="648" y="1547"/>
                    <a:pt x="642" y="1536"/>
                  </a:cubicBezTo>
                  <a:cubicBezTo>
                    <a:pt x="642" y="1534"/>
                    <a:pt x="642" y="1533"/>
                    <a:pt x="642" y="1532"/>
                  </a:cubicBezTo>
                  <a:cubicBezTo>
                    <a:pt x="641" y="1532"/>
                    <a:pt x="641" y="1531"/>
                    <a:pt x="641" y="1530"/>
                  </a:cubicBezTo>
                  <a:cubicBezTo>
                    <a:pt x="641" y="1529"/>
                    <a:pt x="642" y="1528"/>
                    <a:pt x="642" y="1527"/>
                  </a:cubicBezTo>
                  <a:cubicBezTo>
                    <a:pt x="642" y="1524"/>
                    <a:pt x="644" y="1520"/>
                    <a:pt x="645" y="1518"/>
                  </a:cubicBezTo>
                  <a:cubicBezTo>
                    <a:pt x="647" y="1509"/>
                    <a:pt x="649" y="1498"/>
                    <a:pt x="654" y="1490"/>
                  </a:cubicBezTo>
                  <a:cubicBezTo>
                    <a:pt x="654" y="1489"/>
                    <a:pt x="654" y="1489"/>
                    <a:pt x="654" y="1489"/>
                  </a:cubicBezTo>
                  <a:cubicBezTo>
                    <a:pt x="655" y="1486"/>
                    <a:pt x="657" y="1483"/>
                    <a:pt x="659" y="1481"/>
                  </a:cubicBezTo>
                  <a:cubicBezTo>
                    <a:pt x="661" y="1480"/>
                    <a:pt x="662" y="1479"/>
                    <a:pt x="664" y="1478"/>
                  </a:cubicBezTo>
                  <a:cubicBezTo>
                    <a:pt x="669" y="1474"/>
                    <a:pt x="675" y="1472"/>
                    <a:pt x="682" y="1471"/>
                  </a:cubicBezTo>
                  <a:cubicBezTo>
                    <a:pt x="683" y="1471"/>
                    <a:pt x="683" y="1471"/>
                    <a:pt x="684" y="1471"/>
                  </a:cubicBezTo>
                  <a:cubicBezTo>
                    <a:pt x="688" y="1470"/>
                    <a:pt x="694" y="1468"/>
                    <a:pt x="699" y="1468"/>
                  </a:cubicBezTo>
                  <a:cubicBezTo>
                    <a:pt x="706" y="1468"/>
                    <a:pt x="706" y="1468"/>
                    <a:pt x="706" y="1468"/>
                  </a:cubicBezTo>
                  <a:cubicBezTo>
                    <a:pt x="708" y="1468"/>
                    <a:pt x="712" y="1468"/>
                    <a:pt x="714" y="1468"/>
                  </a:cubicBezTo>
                  <a:cubicBezTo>
                    <a:pt x="729" y="1468"/>
                    <a:pt x="746" y="1468"/>
                    <a:pt x="761" y="1468"/>
                  </a:cubicBezTo>
                  <a:cubicBezTo>
                    <a:pt x="763" y="1468"/>
                    <a:pt x="765" y="1468"/>
                    <a:pt x="768" y="1468"/>
                  </a:cubicBezTo>
                  <a:cubicBezTo>
                    <a:pt x="770" y="1468"/>
                    <a:pt x="770" y="1468"/>
                    <a:pt x="770" y="1468"/>
                  </a:cubicBezTo>
                  <a:cubicBezTo>
                    <a:pt x="771" y="1468"/>
                    <a:pt x="771" y="1468"/>
                    <a:pt x="773" y="1468"/>
                  </a:cubicBezTo>
                  <a:cubicBezTo>
                    <a:pt x="775" y="1468"/>
                    <a:pt x="777" y="1468"/>
                    <a:pt x="779" y="1470"/>
                  </a:cubicBezTo>
                  <a:cubicBezTo>
                    <a:pt x="791" y="1471"/>
                    <a:pt x="805" y="1474"/>
                    <a:pt x="807" y="1484"/>
                  </a:cubicBezTo>
                  <a:cubicBezTo>
                    <a:pt x="807" y="1485"/>
                    <a:pt x="807" y="1485"/>
                    <a:pt x="807" y="1485"/>
                  </a:cubicBezTo>
                  <a:cubicBezTo>
                    <a:pt x="807" y="1485"/>
                    <a:pt x="807" y="1485"/>
                    <a:pt x="807" y="1486"/>
                  </a:cubicBezTo>
                  <a:cubicBezTo>
                    <a:pt x="808" y="1497"/>
                    <a:pt x="803" y="1513"/>
                    <a:pt x="800" y="1524"/>
                  </a:cubicBezTo>
                  <a:close/>
                  <a:moveTo>
                    <a:pt x="1038" y="1639"/>
                  </a:moveTo>
                  <a:cubicBezTo>
                    <a:pt x="1038" y="1645"/>
                    <a:pt x="1038" y="1652"/>
                    <a:pt x="1038" y="1659"/>
                  </a:cubicBezTo>
                  <a:cubicBezTo>
                    <a:pt x="1038" y="1662"/>
                    <a:pt x="1038" y="1662"/>
                    <a:pt x="1038" y="1662"/>
                  </a:cubicBezTo>
                  <a:cubicBezTo>
                    <a:pt x="1038" y="1665"/>
                    <a:pt x="1037" y="1670"/>
                    <a:pt x="1035" y="1673"/>
                  </a:cubicBezTo>
                  <a:cubicBezTo>
                    <a:pt x="1034" y="1674"/>
                    <a:pt x="1034" y="1674"/>
                    <a:pt x="1034" y="1674"/>
                  </a:cubicBezTo>
                  <a:cubicBezTo>
                    <a:pt x="1033" y="1675"/>
                    <a:pt x="1032" y="1676"/>
                    <a:pt x="1031" y="1677"/>
                  </a:cubicBezTo>
                  <a:cubicBezTo>
                    <a:pt x="1026" y="1682"/>
                    <a:pt x="1019" y="1685"/>
                    <a:pt x="1010" y="1687"/>
                  </a:cubicBezTo>
                  <a:cubicBezTo>
                    <a:pt x="1007" y="1688"/>
                    <a:pt x="1005" y="1688"/>
                    <a:pt x="1003" y="1688"/>
                  </a:cubicBezTo>
                  <a:cubicBezTo>
                    <a:pt x="1002" y="1688"/>
                    <a:pt x="1001" y="1688"/>
                    <a:pt x="1001" y="1689"/>
                  </a:cubicBezTo>
                  <a:cubicBezTo>
                    <a:pt x="998" y="1689"/>
                    <a:pt x="995" y="1689"/>
                    <a:pt x="993" y="1689"/>
                  </a:cubicBezTo>
                  <a:cubicBezTo>
                    <a:pt x="907" y="1689"/>
                    <a:pt x="907" y="1689"/>
                    <a:pt x="907" y="1689"/>
                  </a:cubicBezTo>
                  <a:cubicBezTo>
                    <a:pt x="897" y="1689"/>
                    <a:pt x="884" y="1687"/>
                    <a:pt x="875" y="1682"/>
                  </a:cubicBezTo>
                  <a:cubicBezTo>
                    <a:pt x="875" y="1681"/>
                    <a:pt x="875" y="1681"/>
                    <a:pt x="875" y="1681"/>
                  </a:cubicBezTo>
                  <a:cubicBezTo>
                    <a:pt x="874" y="1680"/>
                    <a:pt x="872" y="1679"/>
                    <a:pt x="870" y="1678"/>
                  </a:cubicBezTo>
                  <a:cubicBezTo>
                    <a:pt x="869" y="1677"/>
                    <a:pt x="868" y="1675"/>
                    <a:pt x="867" y="1674"/>
                  </a:cubicBezTo>
                  <a:cubicBezTo>
                    <a:pt x="867" y="1674"/>
                    <a:pt x="867" y="1674"/>
                    <a:pt x="867" y="1673"/>
                  </a:cubicBezTo>
                  <a:cubicBezTo>
                    <a:pt x="865" y="1670"/>
                    <a:pt x="864" y="1667"/>
                    <a:pt x="864" y="1662"/>
                  </a:cubicBezTo>
                  <a:cubicBezTo>
                    <a:pt x="865" y="1656"/>
                    <a:pt x="865" y="1656"/>
                    <a:pt x="865" y="1656"/>
                  </a:cubicBezTo>
                  <a:cubicBezTo>
                    <a:pt x="867" y="1643"/>
                    <a:pt x="868" y="1629"/>
                    <a:pt x="870" y="1616"/>
                  </a:cubicBezTo>
                  <a:cubicBezTo>
                    <a:pt x="870" y="1615"/>
                    <a:pt x="870" y="1615"/>
                    <a:pt x="870" y="1615"/>
                  </a:cubicBezTo>
                  <a:cubicBezTo>
                    <a:pt x="870" y="1615"/>
                    <a:pt x="870" y="1615"/>
                    <a:pt x="870" y="1614"/>
                  </a:cubicBezTo>
                  <a:cubicBezTo>
                    <a:pt x="875" y="1584"/>
                    <a:pt x="935" y="1591"/>
                    <a:pt x="957" y="1591"/>
                  </a:cubicBezTo>
                  <a:cubicBezTo>
                    <a:pt x="977" y="1591"/>
                    <a:pt x="1025" y="1585"/>
                    <a:pt x="1036" y="1608"/>
                  </a:cubicBezTo>
                  <a:cubicBezTo>
                    <a:pt x="1037" y="1610"/>
                    <a:pt x="1038" y="1612"/>
                    <a:pt x="1038" y="1615"/>
                  </a:cubicBezTo>
                  <a:cubicBezTo>
                    <a:pt x="1038" y="1639"/>
                    <a:pt x="1038" y="1639"/>
                    <a:pt x="1038" y="1639"/>
                  </a:cubicBezTo>
                  <a:close/>
                  <a:moveTo>
                    <a:pt x="1037" y="1524"/>
                  </a:moveTo>
                  <a:cubicBezTo>
                    <a:pt x="1037" y="1526"/>
                    <a:pt x="1037" y="1526"/>
                    <a:pt x="1037" y="1526"/>
                  </a:cubicBezTo>
                  <a:cubicBezTo>
                    <a:pt x="1037" y="1529"/>
                    <a:pt x="1036" y="1531"/>
                    <a:pt x="1035" y="1533"/>
                  </a:cubicBezTo>
                  <a:cubicBezTo>
                    <a:pt x="1024" y="1554"/>
                    <a:pt x="971" y="1549"/>
                    <a:pt x="952" y="1549"/>
                  </a:cubicBezTo>
                  <a:cubicBezTo>
                    <a:pt x="941" y="1549"/>
                    <a:pt x="930" y="1549"/>
                    <a:pt x="918" y="1549"/>
                  </a:cubicBezTo>
                  <a:cubicBezTo>
                    <a:pt x="908" y="1549"/>
                    <a:pt x="895" y="1547"/>
                    <a:pt x="885" y="1540"/>
                  </a:cubicBezTo>
                  <a:cubicBezTo>
                    <a:pt x="884" y="1539"/>
                    <a:pt x="884" y="1539"/>
                    <a:pt x="884" y="1539"/>
                  </a:cubicBezTo>
                  <a:cubicBezTo>
                    <a:pt x="883" y="1538"/>
                    <a:pt x="883" y="1538"/>
                    <a:pt x="883" y="1538"/>
                  </a:cubicBezTo>
                  <a:cubicBezTo>
                    <a:pt x="882" y="1537"/>
                    <a:pt x="882" y="1537"/>
                    <a:pt x="882" y="1536"/>
                  </a:cubicBezTo>
                  <a:cubicBezTo>
                    <a:pt x="882" y="1536"/>
                    <a:pt x="882" y="1536"/>
                    <a:pt x="881" y="1536"/>
                  </a:cubicBezTo>
                  <a:cubicBezTo>
                    <a:pt x="881" y="1534"/>
                    <a:pt x="880" y="1533"/>
                    <a:pt x="880" y="1532"/>
                  </a:cubicBezTo>
                  <a:cubicBezTo>
                    <a:pt x="879" y="1530"/>
                    <a:pt x="879" y="1529"/>
                    <a:pt x="879" y="1527"/>
                  </a:cubicBezTo>
                  <a:cubicBezTo>
                    <a:pt x="879" y="1525"/>
                    <a:pt x="879" y="1525"/>
                    <a:pt x="879" y="1525"/>
                  </a:cubicBezTo>
                  <a:cubicBezTo>
                    <a:pt x="880" y="1523"/>
                    <a:pt x="880" y="1520"/>
                    <a:pt x="880" y="1518"/>
                  </a:cubicBezTo>
                  <a:cubicBezTo>
                    <a:pt x="880" y="1517"/>
                    <a:pt x="880" y="1517"/>
                    <a:pt x="880" y="1517"/>
                  </a:cubicBezTo>
                  <a:cubicBezTo>
                    <a:pt x="881" y="1509"/>
                    <a:pt x="881" y="1499"/>
                    <a:pt x="883" y="1491"/>
                  </a:cubicBezTo>
                  <a:cubicBezTo>
                    <a:pt x="883" y="1488"/>
                    <a:pt x="883" y="1488"/>
                    <a:pt x="883" y="1488"/>
                  </a:cubicBezTo>
                  <a:cubicBezTo>
                    <a:pt x="884" y="1486"/>
                    <a:pt x="885" y="1483"/>
                    <a:pt x="887" y="1481"/>
                  </a:cubicBezTo>
                  <a:cubicBezTo>
                    <a:pt x="889" y="1479"/>
                    <a:pt x="891" y="1478"/>
                    <a:pt x="894" y="1476"/>
                  </a:cubicBezTo>
                  <a:cubicBezTo>
                    <a:pt x="895" y="1476"/>
                    <a:pt x="895" y="1475"/>
                    <a:pt x="896" y="1475"/>
                  </a:cubicBezTo>
                  <a:cubicBezTo>
                    <a:pt x="896" y="1475"/>
                    <a:pt x="897" y="1475"/>
                    <a:pt x="897" y="1474"/>
                  </a:cubicBezTo>
                  <a:cubicBezTo>
                    <a:pt x="898" y="1474"/>
                    <a:pt x="898" y="1474"/>
                    <a:pt x="898" y="1474"/>
                  </a:cubicBezTo>
                  <a:cubicBezTo>
                    <a:pt x="899" y="1473"/>
                    <a:pt x="901" y="1473"/>
                    <a:pt x="902" y="1472"/>
                  </a:cubicBezTo>
                  <a:cubicBezTo>
                    <a:pt x="903" y="1472"/>
                    <a:pt x="903" y="1472"/>
                    <a:pt x="904" y="1472"/>
                  </a:cubicBezTo>
                  <a:cubicBezTo>
                    <a:pt x="905" y="1471"/>
                    <a:pt x="907" y="1471"/>
                    <a:pt x="908" y="1471"/>
                  </a:cubicBezTo>
                  <a:cubicBezTo>
                    <a:pt x="909" y="1471"/>
                    <a:pt x="909" y="1470"/>
                    <a:pt x="910" y="1470"/>
                  </a:cubicBezTo>
                  <a:cubicBezTo>
                    <a:pt x="911" y="1470"/>
                    <a:pt x="912" y="1470"/>
                    <a:pt x="912" y="1470"/>
                  </a:cubicBezTo>
                  <a:cubicBezTo>
                    <a:pt x="916" y="1468"/>
                    <a:pt x="920" y="1468"/>
                    <a:pt x="925" y="1468"/>
                  </a:cubicBezTo>
                  <a:cubicBezTo>
                    <a:pt x="928" y="1468"/>
                    <a:pt x="928" y="1468"/>
                    <a:pt x="928" y="1468"/>
                  </a:cubicBezTo>
                  <a:cubicBezTo>
                    <a:pt x="932" y="1468"/>
                    <a:pt x="937" y="1468"/>
                    <a:pt x="941" y="1468"/>
                  </a:cubicBezTo>
                  <a:cubicBezTo>
                    <a:pt x="997" y="1468"/>
                    <a:pt x="997" y="1468"/>
                    <a:pt x="997" y="1468"/>
                  </a:cubicBezTo>
                  <a:cubicBezTo>
                    <a:pt x="998" y="1468"/>
                    <a:pt x="999" y="1468"/>
                    <a:pt x="1001" y="1468"/>
                  </a:cubicBezTo>
                  <a:cubicBezTo>
                    <a:pt x="1002" y="1468"/>
                    <a:pt x="1002" y="1468"/>
                    <a:pt x="1002" y="1468"/>
                  </a:cubicBezTo>
                  <a:cubicBezTo>
                    <a:pt x="1003" y="1468"/>
                    <a:pt x="1005" y="1468"/>
                    <a:pt x="1006" y="1468"/>
                  </a:cubicBezTo>
                  <a:cubicBezTo>
                    <a:pt x="1018" y="1470"/>
                    <a:pt x="1030" y="1473"/>
                    <a:pt x="1034" y="1483"/>
                  </a:cubicBezTo>
                  <a:cubicBezTo>
                    <a:pt x="1035" y="1483"/>
                    <a:pt x="1035" y="1484"/>
                    <a:pt x="1035" y="1485"/>
                  </a:cubicBezTo>
                  <a:cubicBezTo>
                    <a:pt x="1036" y="1485"/>
                    <a:pt x="1036" y="1485"/>
                    <a:pt x="1036" y="1485"/>
                  </a:cubicBezTo>
                  <a:cubicBezTo>
                    <a:pt x="1039" y="1497"/>
                    <a:pt x="1036" y="1512"/>
                    <a:pt x="1037" y="1524"/>
                  </a:cubicBezTo>
                  <a:close/>
                  <a:moveTo>
                    <a:pt x="231" y="1302"/>
                  </a:moveTo>
                  <a:cubicBezTo>
                    <a:pt x="172" y="1302"/>
                    <a:pt x="123" y="1254"/>
                    <a:pt x="123" y="1195"/>
                  </a:cubicBezTo>
                  <a:cubicBezTo>
                    <a:pt x="123" y="222"/>
                    <a:pt x="123" y="222"/>
                    <a:pt x="123" y="222"/>
                  </a:cubicBezTo>
                  <a:cubicBezTo>
                    <a:pt x="123" y="162"/>
                    <a:pt x="172" y="115"/>
                    <a:pt x="231" y="115"/>
                  </a:cubicBezTo>
                  <a:cubicBezTo>
                    <a:pt x="1818" y="115"/>
                    <a:pt x="1818" y="115"/>
                    <a:pt x="1818" y="115"/>
                  </a:cubicBezTo>
                  <a:cubicBezTo>
                    <a:pt x="1877" y="115"/>
                    <a:pt x="1925" y="162"/>
                    <a:pt x="1925" y="222"/>
                  </a:cubicBezTo>
                  <a:cubicBezTo>
                    <a:pt x="1925" y="1195"/>
                    <a:pt x="1925" y="1195"/>
                    <a:pt x="1925" y="1195"/>
                  </a:cubicBezTo>
                  <a:cubicBezTo>
                    <a:pt x="1925" y="1254"/>
                    <a:pt x="1877" y="1302"/>
                    <a:pt x="1818" y="1302"/>
                  </a:cubicBezTo>
                  <a:cubicBezTo>
                    <a:pt x="231" y="1302"/>
                    <a:pt x="231" y="1302"/>
                    <a:pt x="231" y="1302"/>
                  </a:cubicBezTo>
                  <a:close/>
                  <a:moveTo>
                    <a:pt x="1883" y="1533"/>
                  </a:moveTo>
                  <a:cubicBezTo>
                    <a:pt x="1883" y="1536"/>
                    <a:pt x="1882" y="1538"/>
                    <a:pt x="1880" y="1540"/>
                  </a:cubicBezTo>
                  <a:cubicBezTo>
                    <a:pt x="1879" y="1540"/>
                    <a:pt x="1879" y="1540"/>
                    <a:pt x="1879" y="1540"/>
                  </a:cubicBezTo>
                  <a:cubicBezTo>
                    <a:pt x="1879" y="1541"/>
                    <a:pt x="1879" y="1541"/>
                    <a:pt x="1878" y="1541"/>
                  </a:cubicBezTo>
                  <a:cubicBezTo>
                    <a:pt x="1878" y="1541"/>
                    <a:pt x="1878" y="1541"/>
                    <a:pt x="1877" y="1542"/>
                  </a:cubicBezTo>
                  <a:cubicBezTo>
                    <a:pt x="1877" y="1542"/>
                    <a:pt x="1876" y="1542"/>
                    <a:pt x="1876" y="1543"/>
                  </a:cubicBezTo>
                  <a:cubicBezTo>
                    <a:pt x="1875" y="1543"/>
                    <a:pt x="1875" y="1543"/>
                    <a:pt x="1874" y="1543"/>
                  </a:cubicBezTo>
                  <a:cubicBezTo>
                    <a:pt x="1863" y="1548"/>
                    <a:pt x="1849" y="1547"/>
                    <a:pt x="1837" y="1547"/>
                  </a:cubicBezTo>
                  <a:cubicBezTo>
                    <a:pt x="1777" y="1547"/>
                    <a:pt x="1777" y="1547"/>
                    <a:pt x="1777" y="1547"/>
                  </a:cubicBezTo>
                  <a:cubicBezTo>
                    <a:pt x="1765" y="1547"/>
                    <a:pt x="1753" y="1545"/>
                    <a:pt x="1742" y="1540"/>
                  </a:cubicBezTo>
                  <a:cubicBezTo>
                    <a:pt x="1738" y="1538"/>
                    <a:pt x="1734" y="1536"/>
                    <a:pt x="1731" y="1533"/>
                  </a:cubicBezTo>
                  <a:cubicBezTo>
                    <a:pt x="1728" y="1530"/>
                    <a:pt x="1725" y="1528"/>
                    <a:pt x="1723" y="1525"/>
                  </a:cubicBezTo>
                  <a:cubicBezTo>
                    <a:pt x="1721" y="1520"/>
                    <a:pt x="1721" y="1520"/>
                    <a:pt x="1721" y="1520"/>
                  </a:cubicBezTo>
                  <a:cubicBezTo>
                    <a:pt x="1715" y="1509"/>
                    <a:pt x="1706" y="1498"/>
                    <a:pt x="1701" y="1486"/>
                  </a:cubicBezTo>
                  <a:cubicBezTo>
                    <a:pt x="1697" y="1478"/>
                    <a:pt x="1701" y="1474"/>
                    <a:pt x="1708" y="1471"/>
                  </a:cubicBezTo>
                  <a:cubicBezTo>
                    <a:pt x="1710" y="1470"/>
                    <a:pt x="1712" y="1468"/>
                    <a:pt x="1715" y="1468"/>
                  </a:cubicBezTo>
                  <a:cubicBezTo>
                    <a:pt x="1719" y="1467"/>
                    <a:pt x="1724" y="1466"/>
                    <a:pt x="1729" y="1466"/>
                  </a:cubicBezTo>
                  <a:cubicBezTo>
                    <a:pt x="1737" y="1466"/>
                    <a:pt x="1737" y="1466"/>
                    <a:pt x="1737" y="1466"/>
                  </a:cubicBezTo>
                  <a:cubicBezTo>
                    <a:pt x="1754" y="1466"/>
                    <a:pt x="1769" y="1466"/>
                    <a:pt x="1785" y="1466"/>
                  </a:cubicBezTo>
                  <a:cubicBezTo>
                    <a:pt x="1786" y="1466"/>
                    <a:pt x="1786" y="1466"/>
                    <a:pt x="1786" y="1466"/>
                  </a:cubicBezTo>
                  <a:cubicBezTo>
                    <a:pt x="1801" y="1466"/>
                    <a:pt x="1801" y="1466"/>
                    <a:pt x="1801" y="1466"/>
                  </a:cubicBezTo>
                  <a:cubicBezTo>
                    <a:pt x="1807" y="1466"/>
                    <a:pt x="1813" y="1466"/>
                    <a:pt x="1818" y="1467"/>
                  </a:cubicBezTo>
                  <a:cubicBezTo>
                    <a:pt x="1821" y="1468"/>
                    <a:pt x="1825" y="1470"/>
                    <a:pt x="1828" y="1471"/>
                  </a:cubicBezTo>
                  <a:cubicBezTo>
                    <a:pt x="1829" y="1471"/>
                    <a:pt x="1829" y="1471"/>
                    <a:pt x="1830" y="1471"/>
                  </a:cubicBezTo>
                  <a:cubicBezTo>
                    <a:pt x="1830" y="1472"/>
                    <a:pt x="1830" y="1472"/>
                    <a:pt x="1831" y="1472"/>
                  </a:cubicBezTo>
                  <a:cubicBezTo>
                    <a:pt x="1832" y="1472"/>
                    <a:pt x="1832" y="1472"/>
                    <a:pt x="1832" y="1472"/>
                  </a:cubicBezTo>
                  <a:cubicBezTo>
                    <a:pt x="1838" y="1474"/>
                    <a:pt x="1842" y="1476"/>
                    <a:pt x="1846" y="1478"/>
                  </a:cubicBezTo>
                  <a:cubicBezTo>
                    <a:pt x="1849" y="1481"/>
                    <a:pt x="1852" y="1483"/>
                    <a:pt x="1854" y="1486"/>
                  </a:cubicBezTo>
                  <a:cubicBezTo>
                    <a:pt x="1867" y="1504"/>
                    <a:pt x="1867" y="1504"/>
                    <a:pt x="1867" y="1504"/>
                  </a:cubicBezTo>
                  <a:cubicBezTo>
                    <a:pt x="1870" y="1509"/>
                    <a:pt x="1877" y="1517"/>
                    <a:pt x="1880" y="1524"/>
                  </a:cubicBezTo>
                  <a:cubicBezTo>
                    <a:pt x="1882" y="1527"/>
                    <a:pt x="1883" y="1530"/>
                    <a:pt x="1883" y="1533"/>
                  </a:cubicBezTo>
                  <a:close/>
                  <a:moveTo>
                    <a:pt x="1121" y="1536"/>
                  </a:moveTo>
                  <a:cubicBezTo>
                    <a:pt x="1121" y="1536"/>
                    <a:pt x="1120" y="1536"/>
                    <a:pt x="1120" y="1534"/>
                  </a:cubicBezTo>
                  <a:cubicBezTo>
                    <a:pt x="1118" y="1532"/>
                    <a:pt x="1117" y="1529"/>
                    <a:pt x="1116" y="1526"/>
                  </a:cubicBezTo>
                  <a:cubicBezTo>
                    <a:pt x="1116" y="1523"/>
                    <a:pt x="1116" y="1523"/>
                    <a:pt x="1116" y="1523"/>
                  </a:cubicBezTo>
                  <a:cubicBezTo>
                    <a:pt x="1116" y="1521"/>
                    <a:pt x="1116" y="1519"/>
                    <a:pt x="1116" y="1517"/>
                  </a:cubicBezTo>
                  <a:cubicBezTo>
                    <a:pt x="1115" y="1509"/>
                    <a:pt x="1113" y="1499"/>
                    <a:pt x="1114" y="1490"/>
                  </a:cubicBezTo>
                  <a:cubicBezTo>
                    <a:pt x="1114" y="1488"/>
                    <a:pt x="1114" y="1488"/>
                    <a:pt x="1114" y="1488"/>
                  </a:cubicBezTo>
                  <a:cubicBezTo>
                    <a:pt x="1113" y="1485"/>
                    <a:pt x="1114" y="1482"/>
                    <a:pt x="1116" y="1480"/>
                  </a:cubicBezTo>
                  <a:cubicBezTo>
                    <a:pt x="1118" y="1478"/>
                    <a:pt x="1120" y="1476"/>
                    <a:pt x="1124" y="1474"/>
                  </a:cubicBezTo>
                  <a:cubicBezTo>
                    <a:pt x="1127" y="1472"/>
                    <a:pt x="1131" y="1471"/>
                    <a:pt x="1135" y="1470"/>
                  </a:cubicBezTo>
                  <a:cubicBezTo>
                    <a:pt x="1137" y="1470"/>
                    <a:pt x="1137" y="1470"/>
                    <a:pt x="1137" y="1470"/>
                  </a:cubicBezTo>
                  <a:cubicBezTo>
                    <a:pt x="1139" y="1468"/>
                    <a:pt x="1141" y="1468"/>
                    <a:pt x="1142" y="1468"/>
                  </a:cubicBezTo>
                  <a:cubicBezTo>
                    <a:pt x="1143" y="1468"/>
                    <a:pt x="1144" y="1468"/>
                    <a:pt x="1145" y="1468"/>
                  </a:cubicBezTo>
                  <a:cubicBezTo>
                    <a:pt x="1152" y="1467"/>
                    <a:pt x="1160" y="1467"/>
                    <a:pt x="1169" y="1467"/>
                  </a:cubicBezTo>
                  <a:cubicBezTo>
                    <a:pt x="1223" y="1467"/>
                    <a:pt x="1223" y="1467"/>
                    <a:pt x="1223" y="1467"/>
                  </a:cubicBezTo>
                  <a:cubicBezTo>
                    <a:pt x="1226" y="1467"/>
                    <a:pt x="1230" y="1467"/>
                    <a:pt x="1233" y="1468"/>
                  </a:cubicBezTo>
                  <a:cubicBezTo>
                    <a:pt x="1247" y="1470"/>
                    <a:pt x="1264" y="1474"/>
                    <a:pt x="1266" y="1487"/>
                  </a:cubicBezTo>
                  <a:cubicBezTo>
                    <a:pt x="1270" y="1499"/>
                    <a:pt x="1271" y="1512"/>
                    <a:pt x="1273" y="1524"/>
                  </a:cubicBezTo>
                  <a:cubicBezTo>
                    <a:pt x="1274" y="1526"/>
                    <a:pt x="1274" y="1526"/>
                    <a:pt x="1274" y="1526"/>
                  </a:cubicBezTo>
                  <a:cubicBezTo>
                    <a:pt x="1274" y="1528"/>
                    <a:pt x="1274" y="1531"/>
                    <a:pt x="1273" y="1533"/>
                  </a:cubicBezTo>
                  <a:cubicBezTo>
                    <a:pt x="1273" y="1533"/>
                    <a:pt x="1273" y="1534"/>
                    <a:pt x="1272" y="1534"/>
                  </a:cubicBezTo>
                  <a:cubicBezTo>
                    <a:pt x="1269" y="1541"/>
                    <a:pt x="1263" y="1544"/>
                    <a:pt x="1254" y="1546"/>
                  </a:cubicBezTo>
                  <a:cubicBezTo>
                    <a:pt x="1253" y="1546"/>
                    <a:pt x="1253" y="1546"/>
                    <a:pt x="1252" y="1546"/>
                  </a:cubicBezTo>
                  <a:cubicBezTo>
                    <a:pt x="1251" y="1547"/>
                    <a:pt x="1251" y="1547"/>
                    <a:pt x="1250" y="1547"/>
                  </a:cubicBezTo>
                  <a:cubicBezTo>
                    <a:pt x="1249" y="1547"/>
                    <a:pt x="1249" y="1547"/>
                    <a:pt x="1248" y="1547"/>
                  </a:cubicBezTo>
                  <a:cubicBezTo>
                    <a:pt x="1247" y="1547"/>
                    <a:pt x="1245" y="1548"/>
                    <a:pt x="1244" y="1548"/>
                  </a:cubicBezTo>
                  <a:cubicBezTo>
                    <a:pt x="1225" y="1550"/>
                    <a:pt x="1204" y="1548"/>
                    <a:pt x="1194" y="1548"/>
                  </a:cubicBezTo>
                  <a:cubicBezTo>
                    <a:pt x="1159" y="1548"/>
                    <a:pt x="1159" y="1548"/>
                    <a:pt x="1159" y="1548"/>
                  </a:cubicBezTo>
                  <a:cubicBezTo>
                    <a:pt x="1156" y="1548"/>
                    <a:pt x="1154" y="1548"/>
                    <a:pt x="1151" y="1548"/>
                  </a:cubicBezTo>
                  <a:cubicBezTo>
                    <a:pt x="1149" y="1548"/>
                    <a:pt x="1147" y="1547"/>
                    <a:pt x="1145" y="1547"/>
                  </a:cubicBezTo>
                  <a:cubicBezTo>
                    <a:pt x="1144" y="1547"/>
                    <a:pt x="1144" y="1547"/>
                    <a:pt x="1144" y="1547"/>
                  </a:cubicBezTo>
                  <a:cubicBezTo>
                    <a:pt x="1143" y="1547"/>
                    <a:pt x="1143" y="1547"/>
                    <a:pt x="1143" y="1547"/>
                  </a:cubicBezTo>
                  <a:cubicBezTo>
                    <a:pt x="1141" y="1546"/>
                    <a:pt x="1139" y="1546"/>
                    <a:pt x="1137" y="1545"/>
                  </a:cubicBezTo>
                  <a:cubicBezTo>
                    <a:pt x="1135" y="1545"/>
                    <a:pt x="1135" y="1544"/>
                    <a:pt x="1134" y="1544"/>
                  </a:cubicBezTo>
                  <a:cubicBezTo>
                    <a:pt x="1132" y="1543"/>
                    <a:pt x="1131" y="1543"/>
                    <a:pt x="1129" y="1542"/>
                  </a:cubicBezTo>
                  <a:cubicBezTo>
                    <a:pt x="1127" y="1541"/>
                    <a:pt x="1125" y="1539"/>
                    <a:pt x="1123" y="1538"/>
                  </a:cubicBezTo>
                  <a:cubicBezTo>
                    <a:pt x="1122" y="1537"/>
                    <a:pt x="1122" y="1537"/>
                    <a:pt x="1122" y="1537"/>
                  </a:cubicBezTo>
                  <a:lnTo>
                    <a:pt x="1121" y="1536"/>
                  </a:lnTo>
                  <a:close/>
                  <a:moveTo>
                    <a:pt x="1131" y="1673"/>
                  </a:moveTo>
                  <a:cubicBezTo>
                    <a:pt x="1128" y="1669"/>
                    <a:pt x="1127" y="1665"/>
                    <a:pt x="1126" y="1662"/>
                  </a:cubicBezTo>
                  <a:cubicBezTo>
                    <a:pt x="1126" y="1657"/>
                    <a:pt x="1126" y="1657"/>
                    <a:pt x="1126" y="1657"/>
                  </a:cubicBezTo>
                  <a:cubicBezTo>
                    <a:pt x="1125" y="1643"/>
                    <a:pt x="1124" y="1629"/>
                    <a:pt x="1123" y="1616"/>
                  </a:cubicBezTo>
                  <a:cubicBezTo>
                    <a:pt x="1123" y="1615"/>
                    <a:pt x="1123" y="1615"/>
                    <a:pt x="1123" y="1615"/>
                  </a:cubicBezTo>
                  <a:cubicBezTo>
                    <a:pt x="1123" y="1614"/>
                    <a:pt x="1123" y="1613"/>
                    <a:pt x="1123" y="1612"/>
                  </a:cubicBezTo>
                  <a:cubicBezTo>
                    <a:pt x="1126" y="1583"/>
                    <a:pt x="1188" y="1590"/>
                    <a:pt x="1208" y="1590"/>
                  </a:cubicBezTo>
                  <a:cubicBezTo>
                    <a:pt x="1231" y="1590"/>
                    <a:pt x="1275" y="1585"/>
                    <a:pt x="1288" y="1608"/>
                  </a:cubicBezTo>
                  <a:cubicBezTo>
                    <a:pt x="1290" y="1610"/>
                    <a:pt x="1292" y="1612"/>
                    <a:pt x="1292" y="1614"/>
                  </a:cubicBezTo>
                  <a:cubicBezTo>
                    <a:pt x="1293" y="1617"/>
                    <a:pt x="1293" y="1617"/>
                    <a:pt x="1293" y="1617"/>
                  </a:cubicBezTo>
                  <a:cubicBezTo>
                    <a:pt x="1294" y="1624"/>
                    <a:pt x="1295" y="1630"/>
                    <a:pt x="1297" y="1638"/>
                  </a:cubicBezTo>
                  <a:cubicBezTo>
                    <a:pt x="1301" y="1661"/>
                    <a:pt x="1301" y="1661"/>
                    <a:pt x="1301" y="1661"/>
                  </a:cubicBezTo>
                  <a:cubicBezTo>
                    <a:pt x="1302" y="1665"/>
                    <a:pt x="1301" y="1669"/>
                    <a:pt x="1300" y="1672"/>
                  </a:cubicBezTo>
                  <a:cubicBezTo>
                    <a:pt x="1299" y="1674"/>
                    <a:pt x="1297" y="1676"/>
                    <a:pt x="1295" y="1678"/>
                  </a:cubicBezTo>
                  <a:cubicBezTo>
                    <a:pt x="1295" y="1678"/>
                    <a:pt x="1294" y="1679"/>
                    <a:pt x="1293" y="1680"/>
                  </a:cubicBezTo>
                  <a:cubicBezTo>
                    <a:pt x="1293" y="1680"/>
                    <a:pt x="1292" y="1680"/>
                    <a:pt x="1292" y="1681"/>
                  </a:cubicBezTo>
                  <a:cubicBezTo>
                    <a:pt x="1291" y="1681"/>
                    <a:pt x="1291" y="1681"/>
                    <a:pt x="1291" y="1681"/>
                  </a:cubicBezTo>
                  <a:cubicBezTo>
                    <a:pt x="1290" y="1682"/>
                    <a:pt x="1288" y="1682"/>
                    <a:pt x="1286" y="1683"/>
                  </a:cubicBezTo>
                  <a:cubicBezTo>
                    <a:pt x="1285" y="1684"/>
                    <a:pt x="1284" y="1684"/>
                    <a:pt x="1283" y="1685"/>
                  </a:cubicBezTo>
                  <a:cubicBezTo>
                    <a:pt x="1282" y="1685"/>
                    <a:pt x="1281" y="1685"/>
                    <a:pt x="1281" y="1685"/>
                  </a:cubicBezTo>
                  <a:cubicBezTo>
                    <a:pt x="1280" y="1686"/>
                    <a:pt x="1279" y="1686"/>
                    <a:pt x="1278" y="1686"/>
                  </a:cubicBezTo>
                  <a:cubicBezTo>
                    <a:pt x="1277" y="1686"/>
                    <a:pt x="1276" y="1687"/>
                    <a:pt x="1275" y="1687"/>
                  </a:cubicBezTo>
                  <a:cubicBezTo>
                    <a:pt x="1274" y="1687"/>
                    <a:pt x="1274" y="1687"/>
                    <a:pt x="1274" y="1687"/>
                  </a:cubicBezTo>
                  <a:cubicBezTo>
                    <a:pt x="1272" y="1687"/>
                    <a:pt x="1270" y="1688"/>
                    <a:pt x="1268" y="1688"/>
                  </a:cubicBezTo>
                  <a:cubicBezTo>
                    <a:pt x="1265" y="1688"/>
                    <a:pt x="1263" y="1688"/>
                    <a:pt x="1261" y="1688"/>
                  </a:cubicBezTo>
                  <a:cubicBezTo>
                    <a:pt x="1260" y="1688"/>
                    <a:pt x="1260" y="1688"/>
                    <a:pt x="1260" y="1688"/>
                  </a:cubicBezTo>
                  <a:cubicBezTo>
                    <a:pt x="1232" y="1688"/>
                    <a:pt x="1204" y="1688"/>
                    <a:pt x="1175" y="1689"/>
                  </a:cubicBezTo>
                  <a:cubicBezTo>
                    <a:pt x="1172" y="1689"/>
                    <a:pt x="1169" y="1688"/>
                    <a:pt x="1166" y="1688"/>
                  </a:cubicBezTo>
                  <a:cubicBezTo>
                    <a:pt x="1165" y="1688"/>
                    <a:pt x="1164" y="1688"/>
                    <a:pt x="1164" y="1688"/>
                  </a:cubicBezTo>
                  <a:cubicBezTo>
                    <a:pt x="1161" y="1687"/>
                    <a:pt x="1159" y="1687"/>
                    <a:pt x="1157" y="1687"/>
                  </a:cubicBezTo>
                  <a:cubicBezTo>
                    <a:pt x="1156" y="1686"/>
                    <a:pt x="1156" y="1686"/>
                    <a:pt x="1156" y="1686"/>
                  </a:cubicBezTo>
                  <a:cubicBezTo>
                    <a:pt x="1153" y="1686"/>
                    <a:pt x="1151" y="1685"/>
                    <a:pt x="1149" y="1684"/>
                  </a:cubicBezTo>
                  <a:cubicBezTo>
                    <a:pt x="1148" y="1684"/>
                    <a:pt x="1147" y="1683"/>
                    <a:pt x="1147" y="1683"/>
                  </a:cubicBezTo>
                  <a:cubicBezTo>
                    <a:pt x="1145" y="1683"/>
                    <a:pt x="1144" y="1682"/>
                    <a:pt x="1143" y="1681"/>
                  </a:cubicBezTo>
                  <a:cubicBezTo>
                    <a:pt x="1142" y="1681"/>
                    <a:pt x="1142" y="1681"/>
                    <a:pt x="1142" y="1681"/>
                  </a:cubicBezTo>
                  <a:cubicBezTo>
                    <a:pt x="1138" y="1679"/>
                    <a:pt x="1133" y="1676"/>
                    <a:pt x="1131" y="1673"/>
                  </a:cubicBezTo>
                  <a:close/>
                  <a:moveTo>
                    <a:pt x="1333" y="1839"/>
                  </a:moveTo>
                  <a:cubicBezTo>
                    <a:pt x="1331" y="1843"/>
                    <a:pt x="1328" y="1846"/>
                    <a:pt x="1324" y="1849"/>
                  </a:cubicBezTo>
                  <a:cubicBezTo>
                    <a:pt x="1320" y="1852"/>
                    <a:pt x="1315" y="1855"/>
                    <a:pt x="1309" y="1856"/>
                  </a:cubicBezTo>
                  <a:cubicBezTo>
                    <a:pt x="1303" y="1858"/>
                    <a:pt x="1297" y="1859"/>
                    <a:pt x="1290" y="1859"/>
                  </a:cubicBezTo>
                  <a:cubicBezTo>
                    <a:pt x="1271" y="1859"/>
                    <a:pt x="1271" y="1859"/>
                    <a:pt x="1271" y="1859"/>
                  </a:cubicBezTo>
                  <a:cubicBezTo>
                    <a:pt x="1270" y="1859"/>
                    <a:pt x="1270" y="1859"/>
                    <a:pt x="1270" y="1859"/>
                  </a:cubicBezTo>
                  <a:cubicBezTo>
                    <a:pt x="1244" y="1859"/>
                    <a:pt x="1219" y="1859"/>
                    <a:pt x="1193" y="1859"/>
                  </a:cubicBezTo>
                  <a:cubicBezTo>
                    <a:pt x="1190" y="1859"/>
                    <a:pt x="1187" y="1859"/>
                    <a:pt x="1184" y="1859"/>
                  </a:cubicBezTo>
                  <a:cubicBezTo>
                    <a:pt x="1183" y="1859"/>
                    <a:pt x="1183" y="1859"/>
                    <a:pt x="1182" y="1859"/>
                  </a:cubicBezTo>
                  <a:cubicBezTo>
                    <a:pt x="1179" y="1858"/>
                    <a:pt x="1177" y="1858"/>
                    <a:pt x="1174" y="1857"/>
                  </a:cubicBezTo>
                  <a:cubicBezTo>
                    <a:pt x="1174" y="1857"/>
                    <a:pt x="1174" y="1857"/>
                    <a:pt x="1173" y="1857"/>
                  </a:cubicBezTo>
                  <a:cubicBezTo>
                    <a:pt x="1161" y="1854"/>
                    <a:pt x="1150" y="1848"/>
                    <a:pt x="1144" y="1839"/>
                  </a:cubicBezTo>
                  <a:cubicBezTo>
                    <a:pt x="1143" y="1838"/>
                    <a:pt x="1142" y="1836"/>
                    <a:pt x="1142" y="1834"/>
                  </a:cubicBezTo>
                  <a:cubicBezTo>
                    <a:pt x="1141" y="1832"/>
                    <a:pt x="1141" y="1831"/>
                    <a:pt x="1141" y="1830"/>
                  </a:cubicBezTo>
                  <a:cubicBezTo>
                    <a:pt x="1140" y="1829"/>
                    <a:pt x="1140" y="1828"/>
                    <a:pt x="1140" y="1827"/>
                  </a:cubicBezTo>
                  <a:cubicBezTo>
                    <a:pt x="1140" y="1826"/>
                    <a:pt x="1140" y="1826"/>
                    <a:pt x="1140" y="1826"/>
                  </a:cubicBezTo>
                  <a:cubicBezTo>
                    <a:pt x="1139" y="1824"/>
                    <a:pt x="1139" y="1824"/>
                    <a:pt x="1139" y="1824"/>
                  </a:cubicBezTo>
                  <a:cubicBezTo>
                    <a:pt x="1138" y="1811"/>
                    <a:pt x="1137" y="1796"/>
                    <a:pt x="1135" y="1782"/>
                  </a:cubicBezTo>
                  <a:cubicBezTo>
                    <a:pt x="1135" y="1779"/>
                    <a:pt x="1135" y="1777"/>
                    <a:pt x="1135" y="1775"/>
                  </a:cubicBezTo>
                  <a:cubicBezTo>
                    <a:pt x="1134" y="1768"/>
                    <a:pt x="1134" y="1768"/>
                    <a:pt x="1134" y="1768"/>
                  </a:cubicBezTo>
                  <a:cubicBezTo>
                    <a:pt x="1134" y="1766"/>
                    <a:pt x="1134" y="1766"/>
                    <a:pt x="1134" y="1766"/>
                  </a:cubicBezTo>
                  <a:cubicBezTo>
                    <a:pt x="1134" y="1764"/>
                    <a:pt x="1134" y="1763"/>
                    <a:pt x="1135" y="1762"/>
                  </a:cubicBezTo>
                  <a:cubicBezTo>
                    <a:pt x="1135" y="1761"/>
                    <a:pt x="1135" y="1760"/>
                    <a:pt x="1135" y="1760"/>
                  </a:cubicBezTo>
                  <a:cubicBezTo>
                    <a:pt x="1137" y="1759"/>
                    <a:pt x="1137" y="1758"/>
                    <a:pt x="1137" y="1757"/>
                  </a:cubicBezTo>
                  <a:cubicBezTo>
                    <a:pt x="1138" y="1756"/>
                    <a:pt x="1138" y="1756"/>
                    <a:pt x="1138" y="1755"/>
                  </a:cubicBezTo>
                  <a:cubicBezTo>
                    <a:pt x="1139" y="1753"/>
                    <a:pt x="1140" y="1752"/>
                    <a:pt x="1141" y="1751"/>
                  </a:cubicBezTo>
                  <a:cubicBezTo>
                    <a:pt x="1142" y="1750"/>
                    <a:pt x="1143" y="1750"/>
                    <a:pt x="1143" y="1749"/>
                  </a:cubicBezTo>
                  <a:cubicBezTo>
                    <a:pt x="1144" y="1748"/>
                    <a:pt x="1145" y="1748"/>
                    <a:pt x="1146" y="1747"/>
                  </a:cubicBezTo>
                  <a:cubicBezTo>
                    <a:pt x="1147" y="1747"/>
                    <a:pt x="1147" y="1746"/>
                    <a:pt x="1147" y="1746"/>
                  </a:cubicBezTo>
                  <a:cubicBezTo>
                    <a:pt x="1148" y="1746"/>
                    <a:pt x="1148" y="1746"/>
                    <a:pt x="1148" y="1746"/>
                  </a:cubicBezTo>
                  <a:cubicBezTo>
                    <a:pt x="1150" y="1745"/>
                    <a:pt x="1151" y="1744"/>
                    <a:pt x="1153" y="1743"/>
                  </a:cubicBezTo>
                  <a:cubicBezTo>
                    <a:pt x="1154" y="1743"/>
                    <a:pt x="1154" y="1742"/>
                    <a:pt x="1154" y="1742"/>
                  </a:cubicBezTo>
                  <a:cubicBezTo>
                    <a:pt x="1155" y="1742"/>
                    <a:pt x="1155" y="1742"/>
                    <a:pt x="1155" y="1742"/>
                  </a:cubicBezTo>
                  <a:cubicBezTo>
                    <a:pt x="1156" y="1742"/>
                    <a:pt x="1156" y="1742"/>
                    <a:pt x="1157" y="1741"/>
                  </a:cubicBezTo>
                  <a:cubicBezTo>
                    <a:pt x="1158" y="1741"/>
                    <a:pt x="1160" y="1740"/>
                    <a:pt x="1161" y="1740"/>
                  </a:cubicBezTo>
                  <a:cubicBezTo>
                    <a:pt x="1162" y="1740"/>
                    <a:pt x="1163" y="1739"/>
                    <a:pt x="1164" y="1739"/>
                  </a:cubicBezTo>
                  <a:cubicBezTo>
                    <a:pt x="1165" y="1739"/>
                    <a:pt x="1166" y="1739"/>
                    <a:pt x="1166" y="1739"/>
                  </a:cubicBezTo>
                  <a:cubicBezTo>
                    <a:pt x="1170" y="1738"/>
                    <a:pt x="1173" y="1738"/>
                    <a:pt x="1176" y="1738"/>
                  </a:cubicBezTo>
                  <a:cubicBezTo>
                    <a:pt x="1177" y="1738"/>
                    <a:pt x="1177" y="1738"/>
                    <a:pt x="1177" y="1738"/>
                  </a:cubicBezTo>
                  <a:cubicBezTo>
                    <a:pt x="1178" y="1738"/>
                    <a:pt x="1179" y="1738"/>
                    <a:pt x="1180" y="1738"/>
                  </a:cubicBezTo>
                  <a:cubicBezTo>
                    <a:pt x="1184" y="1738"/>
                    <a:pt x="1184" y="1738"/>
                    <a:pt x="1184" y="1738"/>
                  </a:cubicBezTo>
                  <a:cubicBezTo>
                    <a:pt x="1189" y="1737"/>
                    <a:pt x="1193" y="1737"/>
                    <a:pt x="1198" y="1737"/>
                  </a:cubicBezTo>
                  <a:cubicBezTo>
                    <a:pt x="1202" y="1737"/>
                    <a:pt x="1206" y="1737"/>
                    <a:pt x="1209" y="1737"/>
                  </a:cubicBezTo>
                  <a:cubicBezTo>
                    <a:pt x="1246" y="1737"/>
                    <a:pt x="1246" y="1737"/>
                    <a:pt x="1246" y="1737"/>
                  </a:cubicBezTo>
                  <a:cubicBezTo>
                    <a:pt x="1256" y="1737"/>
                    <a:pt x="1267" y="1737"/>
                    <a:pt x="1276" y="1738"/>
                  </a:cubicBezTo>
                  <a:cubicBezTo>
                    <a:pt x="1278" y="1738"/>
                    <a:pt x="1279" y="1738"/>
                    <a:pt x="1281" y="1738"/>
                  </a:cubicBezTo>
                  <a:cubicBezTo>
                    <a:pt x="1282" y="1739"/>
                    <a:pt x="1283" y="1739"/>
                    <a:pt x="1284" y="1739"/>
                  </a:cubicBezTo>
                  <a:cubicBezTo>
                    <a:pt x="1284" y="1739"/>
                    <a:pt x="1285" y="1739"/>
                    <a:pt x="1286" y="1739"/>
                  </a:cubicBezTo>
                  <a:cubicBezTo>
                    <a:pt x="1286" y="1739"/>
                    <a:pt x="1287" y="1739"/>
                    <a:pt x="1287" y="1740"/>
                  </a:cubicBezTo>
                  <a:cubicBezTo>
                    <a:pt x="1288" y="1740"/>
                    <a:pt x="1288" y="1740"/>
                    <a:pt x="1290" y="1740"/>
                  </a:cubicBezTo>
                  <a:cubicBezTo>
                    <a:pt x="1291" y="1740"/>
                    <a:pt x="1293" y="1741"/>
                    <a:pt x="1295" y="1742"/>
                  </a:cubicBezTo>
                  <a:cubicBezTo>
                    <a:pt x="1296" y="1742"/>
                    <a:pt x="1297" y="1742"/>
                    <a:pt x="1298" y="1743"/>
                  </a:cubicBezTo>
                  <a:cubicBezTo>
                    <a:pt x="1299" y="1743"/>
                    <a:pt x="1299" y="1743"/>
                    <a:pt x="1300" y="1744"/>
                  </a:cubicBezTo>
                  <a:cubicBezTo>
                    <a:pt x="1302" y="1744"/>
                    <a:pt x="1303" y="1745"/>
                    <a:pt x="1304" y="1746"/>
                  </a:cubicBezTo>
                  <a:cubicBezTo>
                    <a:pt x="1309" y="1748"/>
                    <a:pt x="1313" y="1751"/>
                    <a:pt x="1316" y="1755"/>
                  </a:cubicBezTo>
                  <a:cubicBezTo>
                    <a:pt x="1320" y="1758"/>
                    <a:pt x="1322" y="1762"/>
                    <a:pt x="1323" y="1766"/>
                  </a:cubicBezTo>
                  <a:cubicBezTo>
                    <a:pt x="1328" y="1790"/>
                    <a:pt x="1328" y="1790"/>
                    <a:pt x="1328" y="1790"/>
                  </a:cubicBezTo>
                  <a:cubicBezTo>
                    <a:pt x="1329" y="1801"/>
                    <a:pt x="1331" y="1810"/>
                    <a:pt x="1333" y="1819"/>
                  </a:cubicBezTo>
                  <a:cubicBezTo>
                    <a:pt x="1334" y="1825"/>
                    <a:pt x="1334" y="1825"/>
                    <a:pt x="1334" y="1825"/>
                  </a:cubicBezTo>
                  <a:cubicBezTo>
                    <a:pt x="1335" y="1830"/>
                    <a:pt x="1335" y="1835"/>
                    <a:pt x="1333" y="1839"/>
                  </a:cubicBezTo>
                  <a:close/>
                  <a:moveTo>
                    <a:pt x="1493" y="1533"/>
                  </a:moveTo>
                  <a:cubicBezTo>
                    <a:pt x="1490" y="1531"/>
                    <a:pt x="1487" y="1528"/>
                    <a:pt x="1486" y="1525"/>
                  </a:cubicBezTo>
                  <a:cubicBezTo>
                    <a:pt x="1484" y="1520"/>
                    <a:pt x="1484" y="1520"/>
                    <a:pt x="1484" y="1520"/>
                  </a:cubicBezTo>
                  <a:cubicBezTo>
                    <a:pt x="1482" y="1513"/>
                    <a:pt x="1479" y="1506"/>
                    <a:pt x="1477" y="1498"/>
                  </a:cubicBezTo>
                  <a:cubicBezTo>
                    <a:pt x="1475" y="1494"/>
                    <a:pt x="1472" y="1489"/>
                    <a:pt x="1472" y="1484"/>
                  </a:cubicBezTo>
                  <a:cubicBezTo>
                    <a:pt x="1472" y="1484"/>
                    <a:pt x="1472" y="1483"/>
                    <a:pt x="1472" y="1482"/>
                  </a:cubicBezTo>
                  <a:cubicBezTo>
                    <a:pt x="1472" y="1481"/>
                    <a:pt x="1472" y="1481"/>
                    <a:pt x="1472" y="1481"/>
                  </a:cubicBezTo>
                  <a:cubicBezTo>
                    <a:pt x="1473" y="1480"/>
                    <a:pt x="1472" y="1480"/>
                    <a:pt x="1473" y="1479"/>
                  </a:cubicBezTo>
                  <a:cubicBezTo>
                    <a:pt x="1479" y="1465"/>
                    <a:pt x="1503" y="1467"/>
                    <a:pt x="1515" y="1467"/>
                  </a:cubicBezTo>
                  <a:cubicBezTo>
                    <a:pt x="1576" y="1466"/>
                    <a:pt x="1576" y="1466"/>
                    <a:pt x="1576" y="1466"/>
                  </a:cubicBezTo>
                  <a:cubicBezTo>
                    <a:pt x="1581" y="1466"/>
                    <a:pt x="1586" y="1467"/>
                    <a:pt x="1591" y="1468"/>
                  </a:cubicBezTo>
                  <a:cubicBezTo>
                    <a:pt x="1593" y="1468"/>
                    <a:pt x="1595" y="1468"/>
                    <a:pt x="1596" y="1470"/>
                  </a:cubicBezTo>
                  <a:cubicBezTo>
                    <a:pt x="1596" y="1470"/>
                    <a:pt x="1597" y="1470"/>
                    <a:pt x="1598" y="1470"/>
                  </a:cubicBezTo>
                  <a:cubicBezTo>
                    <a:pt x="1599" y="1470"/>
                    <a:pt x="1600" y="1471"/>
                    <a:pt x="1600" y="1471"/>
                  </a:cubicBezTo>
                  <a:cubicBezTo>
                    <a:pt x="1602" y="1471"/>
                    <a:pt x="1604" y="1472"/>
                    <a:pt x="1605" y="1473"/>
                  </a:cubicBezTo>
                  <a:cubicBezTo>
                    <a:pt x="1606" y="1473"/>
                    <a:pt x="1606" y="1473"/>
                    <a:pt x="1606" y="1473"/>
                  </a:cubicBezTo>
                  <a:cubicBezTo>
                    <a:pt x="1606" y="1473"/>
                    <a:pt x="1606" y="1473"/>
                    <a:pt x="1607" y="1473"/>
                  </a:cubicBezTo>
                  <a:cubicBezTo>
                    <a:pt x="1608" y="1474"/>
                    <a:pt x="1609" y="1474"/>
                    <a:pt x="1611" y="1475"/>
                  </a:cubicBezTo>
                  <a:cubicBezTo>
                    <a:pt x="1612" y="1476"/>
                    <a:pt x="1613" y="1476"/>
                    <a:pt x="1613" y="1476"/>
                  </a:cubicBezTo>
                  <a:cubicBezTo>
                    <a:pt x="1614" y="1477"/>
                    <a:pt x="1614" y="1477"/>
                    <a:pt x="1615" y="1477"/>
                  </a:cubicBezTo>
                  <a:cubicBezTo>
                    <a:pt x="1615" y="1478"/>
                    <a:pt x="1615" y="1478"/>
                    <a:pt x="1616" y="1478"/>
                  </a:cubicBezTo>
                  <a:cubicBezTo>
                    <a:pt x="1617" y="1479"/>
                    <a:pt x="1617" y="1479"/>
                    <a:pt x="1617" y="1479"/>
                  </a:cubicBezTo>
                  <a:cubicBezTo>
                    <a:pt x="1620" y="1481"/>
                    <a:pt x="1624" y="1484"/>
                    <a:pt x="1625" y="1487"/>
                  </a:cubicBezTo>
                  <a:cubicBezTo>
                    <a:pt x="1631" y="1495"/>
                    <a:pt x="1634" y="1506"/>
                    <a:pt x="1638" y="1514"/>
                  </a:cubicBezTo>
                  <a:cubicBezTo>
                    <a:pt x="1640" y="1519"/>
                    <a:pt x="1644" y="1523"/>
                    <a:pt x="1645" y="1528"/>
                  </a:cubicBezTo>
                  <a:cubicBezTo>
                    <a:pt x="1645" y="1529"/>
                    <a:pt x="1645" y="1529"/>
                    <a:pt x="1645" y="1529"/>
                  </a:cubicBezTo>
                  <a:cubicBezTo>
                    <a:pt x="1646" y="1539"/>
                    <a:pt x="1638" y="1543"/>
                    <a:pt x="1630" y="1545"/>
                  </a:cubicBezTo>
                  <a:cubicBezTo>
                    <a:pt x="1629" y="1545"/>
                    <a:pt x="1629" y="1545"/>
                    <a:pt x="1629" y="1546"/>
                  </a:cubicBezTo>
                  <a:cubicBezTo>
                    <a:pt x="1628" y="1546"/>
                    <a:pt x="1628" y="1546"/>
                    <a:pt x="1627" y="1546"/>
                  </a:cubicBezTo>
                  <a:cubicBezTo>
                    <a:pt x="1626" y="1546"/>
                    <a:pt x="1624" y="1546"/>
                    <a:pt x="1623" y="1547"/>
                  </a:cubicBezTo>
                  <a:cubicBezTo>
                    <a:pt x="1621" y="1547"/>
                    <a:pt x="1621" y="1547"/>
                    <a:pt x="1620" y="1547"/>
                  </a:cubicBezTo>
                  <a:cubicBezTo>
                    <a:pt x="1619" y="1547"/>
                    <a:pt x="1617" y="1547"/>
                    <a:pt x="1616" y="1547"/>
                  </a:cubicBezTo>
                  <a:cubicBezTo>
                    <a:pt x="1615" y="1547"/>
                    <a:pt x="1614" y="1547"/>
                    <a:pt x="1613" y="1547"/>
                  </a:cubicBezTo>
                  <a:cubicBezTo>
                    <a:pt x="1611" y="1547"/>
                    <a:pt x="1611" y="1547"/>
                    <a:pt x="1611" y="1547"/>
                  </a:cubicBezTo>
                  <a:cubicBezTo>
                    <a:pt x="1602" y="1547"/>
                    <a:pt x="1593" y="1547"/>
                    <a:pt x="1583" y="1547"/>
                  </a:cubicBezTo>
                  <a:cubicBezTo>
                    <a:pt x="1568" y="1547"/>
                    <a:pt x="1552" y="1547"/>
                    <a:pt x="1537" y="1547"/>
                  </a:cubicBezTo>
                  <a:cubicBezTo>
                    <a:pt x="1525" y="1547"/>
                    <a:pt x="1514" y="1546"/>
                    <a:pt x="1505" y="1541"/>
                  </a:cubicBezTo>
                  <a:cubicBezTo>
                    <a:pt x="1499" y="1539"/>
                    <a:pt x="1495" y="1537"/>
                    <a:pt x="1493" y="1533"/>
                  </a:cubicBezTo>
                  <a:close/>
                  <a:moveTo>
                    <a:pt x="1544" y="1672"/>
                  </a:moveTo>
                  <a:cubicBezTo>
                    <a:pt x="1541" y="1667"/>
                    <a:pt x="1538" y="1664"/>
                    <a:pt x="1537" y="1661"/>
                  </a:cubicBezTo>
                  <a:cubicBezTo>
                    <a:pt x="1528" y="1638"/>
                    <a:pt x="1528" y="1638"/>
                    <a:pt x="1528" y="1638"/>
                  </a:cubicBezTo>
                  <a:cubicBezTo>
                    <a:pt x="1525" y="1630"/>
                    <a:pt x="1523" y="1624"/>
                    <a:pt x="1520" y="1617"/>
                  </a:cubicBezTo>
                  <a:cubicBezTo>
                    <a:pt x="1519" y="1614"/>
                    <a:pt x="1519" y="1614"/>
                    <a:pt x="1519" y="1614"/>
                  </a:cubicBezTo>
                  <a:cubicBezTo>
                    <a:pt x="1518" y="1610"/>
                    <a:pt x="1518" y="1607"/>
                    <a:pt x="1519" y="1604"/>
                  </a:cubicBezTo>
                  <a:cubicBezTo>
                    <a:pt x="1520" y="1601"/>
                    <a:pt x="1521" y="1600"/>
                    <a:pt x="1523" y="1598"/>
                  </a:cubicBezTo>
                  <a:cubicBezTo>
                    <a:pt x="1523" y="1598"/>
                    <a:pt x="1523" y="1598"/>
                    <a:pt x="1524" y="1597"/>
                  </a:cubicBezTo>
                  <a:cubicBezTo>
                    <a:pt x="1525" y="1596"/>
                    <a:pt x="1525" y="1596"/>
                    <a:pt x="1525" y="1596"/>
                  </a:cubicBezTo>
                  <a:cubicBezTo>
                    <a:pt x="1528" y="1594"/>
                    <a:pt x="1533" y="1592"/>
                    <a:pt x="1537" y="1591"/>
                  </a:cubicBezTo>
                  <a:cubicBezTo>
                    <a:pt x="1541" y="1590"/>
                    <a:pt x="1545" y="1590"/>
                    <a:pt x="1549" y="1589"/>
                  </a:cubicBezTo>
                  <a:cubicBezTo>
                    <a:pt x="1566" y="1588"/>
                    <a:pt x="1583" y="1589"/>
                    <a:pt x="1591" y="1589"/>
                  </a:cubicBezTo>
                  <a:cubicBezTo>
                    <a:pt x="1620" y="1589"/>
                    <a:pt x="1671" y="1583"/>
                    <a:pt x="1688" y="1613"/>
                  </a:cubicBezTo>
                  <a:cubicBezTo>
                    <a:pt x="1688" y="1614"/>
                    <a:pt x="1688" y="1614"/>
                    <a:pt x="1688" y="1614"/>
                  </a:cubicBezTo>
                  <a:cubicBezTo>
                    <a:pt x="1694" y="1626"/>
                    <a:pt x="1700" y="1639"/>
                    <a:pt x="1706" y="1651"/>
                  </a:cubicBezTo>
                  <a:cubicBezTo>
                    <a:pt x="1708" y="1655"/>
                    <a:pt x="1711" y="1659"/>
                    <a:pt x="1712" y="1664"/>
                  </a:cubicBezTo>
                  <a:cubicBezTo>
                    <a:pt x="1712" y="1665"/>
                    <a:pt x="1712" y="1667"/>
                    <a:pt x="1712" y="1667"/>
                  </a:cubicBezTo>
                  <a:cubicBezTo>
                    <a:pt x="1712" y="1669"/>
                    <a:pt x="1712" y="1670"/>
                    <a:pt x="1712" y="1671"/>
                  </a:cubicBezTo>
                  <a:cubicBezTo>
                    <a:pt x="1712" y="1672"/>
                    <a:pt x="1712" y="1672"/>
                    <a:pt x="1712" y="1672"/>
                  </a:cubicBezTo>
                  <a:cubicBezTo>
                    <a:pt x="1712" y="1673"/>
                    <a:pt x="1711" y="1674"/>
                    <a:pt x="1710" y="1675"/>
                  </a:cubicBezTo>
                  <a:cubicBezTo>
                    <a:pt x="1710" y="1676"/>
                    <a:pt x="1710" y="1676"/>
                    <a:pt x="1710" y="1676"/>
                  </a:cubicBezTo>
                  <a:cubicBezTo>
                    <a:pt x="1709" y="1677"/>
                    <a:pt x="1708" y="1678"/>
                    <a:pt x="1707" y="1679"/>
                  </a:cubicBezTo>
                  <a:cubicBezTo>
                    <a:pt x="1706" y="1680"/>
                    <a:pt x="1706" y="1680"/>
                    <a:pt x="1706" y="1680"/>
                  </a:cubicBezTo>
                  <a:cubicBezTo>
                    <a:pt x="1705" y="1681"/>
                    <a:pt x="1704" y="1681"/>
                    <a:pt x="1704" y="1681"/>
                  </a:cubicBezTo>
                  <a:cubicBezTo>
                    <a:pt x="1701" y="1683"/>
                    <a:pt x="1699" y="1684"/>
                    <a:pt x="1695" y="1685"/>
                  </a:cubicBezTo>
                  <a:cubicBezTo>
                    <a:pt x="1695" y="1685"/>
                    <a:pt x="1694" y="1686"/>
                    <a:pt x="1693" y="1686"/>
                  </a:cubicBezTo>
                  <a:cubicBezTo>
                    <a:pt x="1691" y="1686"/>
                    <a:pt x="1690" y="1686"/>
                    <a:pt x="1689" y="1687"/>
                  </a:cubicBezTo>
                  <a:cubicBezTo>
                    <a:pt x="1688" y="1687"/>
                    <a:pt x="1688" y="1687"/>
                    <a:pt x="1687" y="1687"/>
                  </a:cubicBezTo>
                  <a:cubicBezTo>
                    <a:pt x="1686" y="1687"/>
                    <a:pt x="1686" y="1687"/>
                    <a:pt x="1686" y="1687"/>
                  </a:cubicBezTo>
                  <a:cubicBezTo>
                    <a:pt x="1656" y="1690"/>
                    <a:pt x="1624" y="1687"/>
                    <a:pt x="1593" y="1688"/>
                  </a:cubicBezTo>
                  <a:cubicBezTo>
                    <a:pt x="1589" y="1688"/>
                    <a:pt x="1586" y="1687"/>
                    <a:pt x="1583" y="1687"/>
                  </a:cubicBezTo>
                  <a:cubicBezTo>
                    <a:pt x="1572" y="1686"/>
                    <a:pt x="1560" y="1682"/>
                    <a:pt x="1551" y="1676"/>
                  </a:cubicBezTo>
                  <a:cubicBezTo>
                    <a:pt x="1548" y="1675"/>
                    <a:pt x="1546" y="1673"/>
                    <a:pt x="1544" y="1672"/>
                  </a:cubicBezTo>
                  <a:close/>
                  <a:moveTo>
                    <a:pt x="1795" y="1838"/>
                  </a:moveTo>
                  <a:cubicBezTo>
                    <a:pt x="1795" y="1839"/>
                    <a:pt x="1794" y="1839"/>
                    <a:pt x="1794" y="1840"/>
                  </a:cubicBezTo>
                  <a:cubicBezTo>
                    <a:pt x="1794" y="1841"/>
                    <a:pt x="1794" y="1841"/>
                    <a:pt x="1794" y="1842"/>
                  </a:cubicBezTo>
                  <a:cubicBezTo>
                    <a:pt x="1793" y="1843"/>
                    <a:pt x="1793" y="1844"/>
                    <a:pt x="1792" y="1845"/>
                  </a:cubicBezTo>
                  <a:cubicBezTo>
                    <a:pt x="1792" y="1845"/>
                    <a:pt x="1792" y="1845"/>
                    <a:pt x="1792" y="1846"/>
                  </a:cubicBezTo>
                  <a:cubicBezTo>
                    <a:pt x="1791" y="1846"/>
                    <a:pt x="1791" y="1847"/>
                    <a:pt x="1790" y="1847"/>
                  </a:cubicBezTo>
                  <a:cubicBezTo>
                    <a:pt x="1790" y="1847"/>
                    <a:pt x="1790" y="1848"/>
                    <a:pt x="1789" y="1848"/>
                  </a:cubicBezTo>
                  <a:cubicBezTo>
                    <a:pt x="1789" y="1848"/>
                    <a:pt x="1789" y="1848"/>
                    <a:pt x="1789" y="1849"/>
                  </a:cubicBezTo>
                  <a:cubicBezTo>
                    <a:pt x="1783" y="1854"/>
                    <a:pt x="1776" y="1856"/>
                    <a:pt x="1768" y="1857"/>
                  </a:cubicBezTo>
                  <a:cubicBezTo>
                    <a:pt x="1767" y="1857"/>
                    <a:pt x="1767" y="1857"/>
                    <a:pt x="1767" y="1857"/>
                  </a:cubicBezTo>
                  <a:cubicBezTo>
                    <a:pt x="1764" y="1858"/>
                    <a:pt x="1761" y="1858"/>
                    <a:pt x="1758" y="1858"/>
                  </a:cubicBezTo>
                  <a:cubicBezTo>
                    <a:pt x="1755" y="1858"/>
                    <a:pt x="1755" y="1858"/>
                    <a:pt x="1755" y="1858"/>
                  </a:cubicBezTo>
                  <a:cubicBezTo>
                    <a:pt x="1752" y="1858"/>
                    <a:pt x="1749" y="1858"/>
                    <a:pt x="1747" y="1858"/>
                  </a:cubicBezTo>
                  <a:cubicBezTo>
                    <a:pt x="1662" y="1858"/>
                    <a:pt x="1662" y="1858"/>
                    <a:pt x="1662" y="1858"/>
                  </a:cubicBezTo>
                  <a:cubicBezTo>
                    <a:pt x="1659" y="1858"/>
                    <a:pt x="1656" y="1858"/>
                    <a:pt x="1653" y="1858"/>
                  </a:cubicBezTo>
                  <a:cubicBezTo>
                    <a:pt x="1651" y="1857"/>
                    <a:pt x="1650" y="1857"/>
                    <a:pt x="1649" y="1857"/>
                  </a:cubicBezTo>
                  <a:cubicBezTo>
                    <a:pt x="1632" y="1855"/>
                    <a:pt x="1611" y="1847"/>
                    <a:pt x="1602" y="1831"/>
                  </a:cubicBezTo>
                  <a:cubicBezTo>
                    <a:pt x="1600" y="1829"/>
                    <a:pt x="1599" y="1827"/>
                    <a:pt x="1598" y="1825"/>
                  </a:cubicBezTo>
                  <a:cubicBezTo>
                    <a:pt x="1598" y="1824"/>
                    <a:pt x="1598" y="1824"/>
                    <a:pt x="1598" y="1824"/>
                  </a:cubicBezTo>
                  <a:cubicBezTo>
                    <a:pt x="1594" y="1812"/>
                    <a:pt x="1588" y="1801"/>
                    <a:pt x="1584" y="1788"/>
                  </a:cubicBezTo>
                  <a:cubicBezTo>
                    <a:pt x="1582" y="1782"/>
                    <a:pt x="1578" y="1774"/>
                    <a:pt x="1576" y="1766"/>
                  </a:cubicBezTo>
                  <a:cubicBezTo>
                    <a:pt x="1576" y="1765"/>
                    <a:pt x="1576" y="1765"/>
                    <a:pt x="1576" y="1765"/>
                  </a:cubicBezTo>
                  <a:cubicBezTo>
                    <a:pt x="1576" y="1765"/>
                    <a:pt x="1575" y="1764"/>
                    <a:pt x="1575" y="1763"/>
                  </a:cubicBezTo>
                  <a:cubicBezTo>
                    <a:pt x="1575" y="1760"/>
                    <a:pt x="1575" y="1757"/>
                    <a:pt x="1575" y="1754"/>
                  </a:cubicBezTo>
                  <a:cubicBezTo>
                    <a:pt x="1576" y="1752"/>
                    <a:pt x="1577" y="1751"/>
                    <a:pt x="1578" y="1749"/>
                  </a:cubicBezTo>
                  <a:cubicBezTo>
                    <a:pt x="1583" y="1741"/>
                    <a:pt x="1593" y="1738"/>
                    <a:pt x="1603" y="1737"/>
                  </a:cubicBezTo>
                  <a:cubicBezTo>
                    <a:pt x="1603" y="1737"/>
                    <a:pt x="1603" y="1737"/>
                    <a:pt x="1604" y="1737"/>
                  </a:cubicBezTo>
                  <a:cubicBezTo>
                    <a:pt x="1606" y="1737"/>
                    <a:pt x="1608" y="1737"/>
                    <a:pt x="1611" y="1737"/>
                  </a:cubicBezTo>
                  <a:cubicBezTo>
                    <a:pt x="1612" y="1736"/>
                    <a:pt x="1612" y="1736"/>
                    <a:pt x="1612" y="1736"/>
                  </a:cubicBezTo>
                  <a:cubicBezTo>
                    <a:pt x="1618" y="1736"/>
                    <a:pt x="1618" y="1736"/>
                    <a:pt x="1618" y="1736"/>
                  </a:cubicBezTo>
                  <a:cubicBezTo>
                    <a:pt x="1619" y="1736"/>
                    <a:pt x="1620" y="1736"/>
                    <a:pt x="1623" y="1736"/>
                  </a:cubicBezTo>
                  <a:cubicBezTo>
                    <a:pt x="1648" y="1736"/>
                    <a:pt x="1674" y="1736"/>
                    <a:pt x="1701" y="1736"/>
                  </a:cubicBezTo>
                  <a:cubicBezTo>
                    <a:pt x="1704" y="1736"/>
                    <a:pt x="1707" y="1736"/>
                    <a:pt x="1710" y="1737"/>
                  </a:cubicBezTo>
                  <a:cubicBezTo>
                    <a:pt x="1711" y="1737"/>
                    <a:pt x="1711" y="1737"/>
                    <a:pt x="1711" y="1737"/>
                  </a:cubicBezTo>
                  <a:cubicBezTo>
                    <a:pt x="1729" y="1739"/>
                    <a:pt x="1749" y="1746"/>
                    <a:pt x="1759" y="1759"/>
                  </a:cubicBezTo>
                  <a:cubicBezTo>
                    <a:pt x="1761" y="1761"/>
                    <a:pt x="1762" y="1763"/>
                    <a:pt x="1763" y="1765"/>
                  </a:cubicBezTo>
                  <a:cubicBezTo>
                    <a:pt x="1766" y="1771"/>
                    <a:pt x="1766" y="1771"/>
                    <a:pt x="1766" y="1771"/>
                  </a:cubicBezTo>
                  <a:cubicBezTo>
                    <a:pt x="1771" y="1781"/>
                    <a:pt x="1777" y="1791"/>
                    <a:pt x="1782" y="1803"/>
                  </a:cubicBezTo>
                  <a:cubicBezTo>
                    <a:pt x="1785" y="1809"/>
                    <a:pt x="1791" y="1817"/>
                    <a:pt x="1793" y="1826"/>
                  </a:cubicBezTo>
                  <a:cubicBezTo>
                    <a:pt x="1795" y="1830"/>
                    <a:pt x="1796" y="1834"/>
                    <a:pt x="1795" y="1838"/>
                  </a:cubicBezTo>
                  <a:close/>
                  <a:moveTo>
                    <a:pt x="1809" y="1671"/>
                  </a:moveTo>
                  <a:cubicBezTo>
                    <a:pt x="1805" y="1667"/>
                    <a:pt x="1801" y="1663"/>
                    <a:pt x="1799" y="1660"/>
                  </a:cubicBezTo>
                  <a:cubicBezTo>
                    <a:pt x="1797" y="1657"/>
                    <a:pt x="1797" y="1657"/>
                    <a:pt x="1797" y="1657"/>
                  </a:cubicBezTo>
                  <a:cubicBezTo>
                    <a:pt x="1790" y="1644"/>
                    <a:pt x="1783" y="1631"/>
                    <a:pt x="1776" y="1618"/>
                  </a:cubicBezTo>
                  <a:cubicBezTo>
                    <a:pt x="1772" y="1613"/>
                    <a:pt x="1772" y="1613"/>
                    <a:pt x="1772" y="1613"/>
                  </a:cubicBezTo>
                  <a:cubicBezTo>
                    <a:pt x="1770" y="1610"/>
                    <a:pt x="1770" y="1607"/>
                    <a:pt x="1770" y="1604"/>
                  </a:cubicBezTo>
                  <a:cubicBezTo>
                    <a:pt x="1771" y="1600"/>
                    <a:pt x="1772" y="1598"/>
                    <a:pt x="1776" y="1595"/>
                  </a:cubicBezTo>
                  <a:cubicBezTo>
                    <a:pt x="1779" y="1593"/>
                    <a:pt x="1782" y="1592"/>
                    <a:pt x="1786" y="1590"/>
                  </a:cubicBezTo>
                  <a:cubicBezTo>
                    <a:pt x="1791" y="1589"/>
                    <a:pt x="1796" y="1589"/>
                    <a:pt x="1802" y="1589"/>
                  </a:cubicBezTo>
                  <a:cubicBezTo>
                    <a:pt x="1803" y="1589"/>
                    <a:pt x="1803" y="1589"/>
                    <a:pt x="1803" y="1589"/>
                  </a:cubicBezTo>
                  <a:cubicBezTo>
                    <a:pt x="1816" y="1588"/>
                    <a:pt x="1830" y="1588"/>
                    <a:pt x="1838" y="1588"/>
                  </a:cubicBezTo>
                  <a:cubicBezTo>
                    <a:pt x="1870" y="1588"/>
                    <a:pt x="1920" y="1582"/>
                    <a:pt x="1941" y="1613"/>
                  </a:cubicBezTo>
                  <a:cubicBezTo>
                    <a:pt x="1948" y="1622"/>
                    <a:pt x="1954" y="1632"/>
                    <a:pt x="1962" y="1643"/>
                  </a:cubicBezTo>
                  <a:cubicBezTo>
                    <a:pt x="1965" y="1648"/>
                    <a:pt x="1971" y="1655"/>
                    <a:pt x="1974" y="1661"/>
                  </a:cubicBezTo>
                  <a:cubicBezTo>
                    <a:pt x="1976" y="1664"/>
                    <a:pt x="1977" y="1667"/>
                    <a:pt x="1977" y="1671"/>
                  </a:cubicBezTo>
                  <a:cubicBezTo>
                    <a:pt x="1977" y="1672"/>
                    <a:pt x="1976" y="1674"/>
                    <a:pt x="1975" y="1676"/>
                  </a:cubicBezTo>
                  <a:cubicBezTo>
                    <a:pt x="1975" y="1677"/>
                    <a:pt x="1974" y="1678"/>
                    <a:pt x="1973" y="1679"/>
                  </a:cubicBezTo>
                  <a:cubicBezTo>
                    <a:pt x="1972" y="1680"/>
                    <a:pt x="1972" y="1680"/>
                    <a:pt x="1971" y="1681"/>
                  </a:cubicBezTo>
                  <a:cubicBezTo>
                    <a:pt x="1970" y="1681"/>
                    <a:pt x="1970" y="1681"/>
                    <a:pt x="1970" y="1681"/>
                  </a:cubicBezTo>
                  <a:cubicBezTo>
                    <a:pt x="1969" y="1682"/>
                    <a:pt x="1968" y="1682"/>
                    <a:pt x="1967" y="1683"/>
                  </a:cubicBezTo>
                  <a:cubicBezTo>
                    <a:pt x="1966" y="1683"/>
                    <a:pt x="1964" y="1684"/>
                    <a:pt x="1963" y="1684"/>
                  </a:cubicBezTo>
                  <a:cubicBezTo>
                    <a:pt x="1963" y="1685"/>
                    <a:pt x="1963" y="1685"/>
                    <a:pt x="1963" y="1685"/>
                  </a:cubicBezTo>
                  <a:cubicBezTo>
                    <a:pt x="1962" y="1685"/>
                    <a:pt x="1962" y="1685"/>
                    <a:pt x="1962" y="1685"/>
                  </a:cubicBezTo>
                  <a:cubicBezTo>
                    <a:pt x="1947" y="1689"/>
                    <a:pt x="1925" y="1687"/>
                    <a:pt x="1911" y="1687"/>
                  </a:cubicBezTo>
                  <a:cubicBezTo>
                    <a:pt x="1894" y="1687"/>
                    <a:pt x="1877" y="1687"/>
                    <a:pt x="1860" y="1687"/>
                  </a:cubicBezTo>
                  <a:cubicBezTo>
                    <a:pt x="1845" y="1687"/>
                    <a:pt x="1827" y="1683"/>
                    <a:pt x="1814" y="1675"/>
                  </a:cubicBezTo>
                  <a:cubicBezTo>
                    <a:pt x="1812" y="1673"/>
                    <a:pt x="1811" y="1672"/>
                    <a:pt x="1809" y="1671"/>
                  </a:cubicBezTo>
                  <a:close/>
                  <a:moveTo>
                    <a:pt x="2088" y="1847"/>
                  </a:moveTo>
                  <a:cubicBezTo>
                    <a:pt x="2088" y="1847"/>
                    <a:pt x="2088" y="1847"/>
                    <a:pt x="2087" y="1847"/>
                  </a:cubicBezTo>
                  <a:cubicBezTo>
                    <a:pt x="2085" y="1850"/>
                    <a:pt x="2081" y="1853"/>
                    <a:pt x="2075" y="1854"/>
                  </a:cubicBezTo>
                  <a:cubicBezTo>
                    <a:pt x="2071" y="1856"/>
                    <a:pt x="2065" y="1857"/>
                    <a:pt x="2058" y="1857"/>
                  </a:cubicBezTo>
                  <a:cubicBezTo>
                    <a:pt x="2051" y="1857"/>
                    <a:pt x="2051" y="1857"/>
                    <a:pt x="2051" y="1857"/>
                  </a:cubicBezTo>
                  <a:cubicBezTo>
                    <a:pt x="2022" y="1857"/>
                    <a:pt x="1992" y="1857"/>
                    <a:pt x="1962" y="1857"/>
                  </a:cubicBezTo>
                  <a:cubicBezTo>
                    <a:pt x="1959" y="1857"/>
                    <a:pt x="1954" y="1857"/>
                    <a:pt x="1951" y="1857"/>
                  </a:cubicBezTo>
                  <a:cubicBezTo>
                    <a:pt x="1931" y="1855"/>
                    <a:pt x="1909" y="1846"/>
                    <a:pt x="1896" y="1830"/>
                  </a:cubicBezTo>
                  <a:cubicBezTo>
                    <a:pt x="1894" y="1828"/>
                    <a:pt x="1892" y="1826"/>
                    <a:pt x="1891" y="1824"/>
                  </a:cubicBezTo>
                  <a:cubicBezTo>
                    <a:pt x="1885" y="1813"/>
                    <a:pt x="1878" y="1802"/>
                    <a:pt x="1872" y="1790"/>
                  </a:cubicBezTo>
                  <a:cubicBezTo>
                    <a:pt x="1868" y="1782"/>
                    <a:pt x="1858" y="1770"/>
                    <a:pt x="1856" y="1759"/>
                  </a:cubicBezTo>
                  <a:cubicBezTo>
                    <a:pt x="1855" y="1758"/>
                    <a:pt x="1855" y="1757"/>
                    <a:pt x="1855" y="1756"/>
                  </a:cubicBezTo>
                  <a:cubicBezTo>
                    <a:pt x="1854" y="1746"/>
                    <a:pt x="1862" y="1741"/>
                    <a:pt x="1872" y="1738"/>
                  </a:cubicBezTo>
                  <a:cubicBezTo>
                    <a:pt x="1873" y="1738"/>
                    <a:pt x="1873" y="1738"/>
                    <a:pt x="1873" y="1738"/>
                  </a:cubicBezTo>
                  <a:cubicBezTo>
                    <a:pt x="1874" y="1738"/>
                    <a:pt x="1874" y="1738"/>
                    <a:pt x="1875" y="1737"/>
                  </a:cubicBezTo>
                  <a:cubicBezTo>
                    <a:pt x="1879" y="1736"/>
                    <a:pt x="1884" y="1736"/>
                    <a:pt x="1889" y="1736"/>
                  </a:cubicBezTo>
                  <a:cubicBezTo>
                    <a:pt x="1948" y="1736"/>
                    <a:pt x="1948" y="1736"/>
                    <a:pt x="1948" y="1736"/>
                  </a:cubicBezTo>
                  <a:cubicBezTo>
                    <a:pt x="1958" y="1736"/>
                    <a:pt x="1968" y="1736"/>
                    <a:pt x="1977" y="1736"/>
                  </a:cubicBezTo>
                  <a:cubicBezTo>
                    <a:pt x="1978" y="1736"/>
                    <a:pt x="1978" y="1736"/>
                    <a:pt x="1979" y="1736"/>
                  </a:cubicBezTo>
                  <a:cubicBezTo>
                    <a:pt x="1981" y="1736"/>
                    <a:pt x="1984" y="1736"/>
                    <a:pt x="1986" y="1736"/>
                  </a:cubicBezTo>
                  <a:cubicBezTo>
                    <a:pt x="1988" y="1736"/>
                    <a:pt x="1988" y="1736"/>
                    <a:pt x="1989" y="1736"/>
                  </a:cubicBezTo>
                  <a:cubicBezTo>
                    <a:pt x="2007" y="1738"/>
                    <a:pt x="2027" y="1745"/>
                    <a:pt x="2039" y="1758"/>
                  </a:cubicBezTo>
                  <a:cubicBezTo>
                    <a:pt x="2040" y="1758"/>
                    <a:pt x="2041" y="1759"/>
                    <a:pt x="2042" y="1760"/>
                  </a:cubicBezTo>
                  <a:cubicBezTo>
                    <a:pt x="2042" y="1761"/>
                    <a:pt x="2043" y="1761"/>
                    <a:pt x="2043" y="1762"/>
                  </a:cubicBezTo>
                  <a:cubicBezTo>
                    <a:pt x="2044" y="1763"/>
                    <a:pt x="2044" y="1763"/>
                    <a:pt x="2045" y="1764"/>
                  </a:cubicBezTo>
                  <a:cubicBezTo>
                    <a:pt x="2048" y="1766"/>
                    <a:pt x="2048" y="1766"/>
                    <a:pt x="2048" y="1766"/>
                  </a:cubicBezTo>
                  <a:cubicBezTo>
                    <a:pt x="2053" y="1775"/>
                    <a:pt x="2058" y="1783"/>
                    <a:pt x="2064" y="1791"/>
                  </a:cubicBezTo>
                  <a:cubicBezTo>
                    <a:pt x="2071" y="1803"/>
                    <a:pt x="2082" y="1814"/>
                    <a:pt x="2088" y="1827"/>
                  </a:cubicBezTo>
                  <a:cubicBezTo>
                    <a:pt x="2089" y="1828"/>
                    <a:pt x="2089" y="1828"/>
                    <a:pt x="2089" y="1829"/>
                  </a:cubicBezTo>
                  <a:cubicBezTo>
                    <a:pt x="2090" y="1830"/>
                    <a:pt x="2090" y="1830"/>
                    <a:pt x="2090" y="1830"/>
                  </a:cubicBezTo>
                  <a:cubicBezTo>
                    <a:pt x="2092" y="1838"/>
                    <a:pt x="2091" y="1843"/>
                    <a:pt x="2088" y="18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</p:grp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7140575" y="5402263"/>
            <a:ext cx="1147763" cy="914400"/>
            <a:chOff x="7141211" y="5402486"/>
            <a:chExt cx="1146689" cy="914776"/>
          </a:xfrm>
        </p:grpSpPr>
        <p:sp>
          <p:nvSpPr>
            <p:cNvPr id="182" name="Freeform 6"/>
            <p:cNvSpPr>
              <a:spLocks/>
            </p:cNvSpPr>
            <p:nvPr/>
          </p:nvSpPr>
          <p:spPr bwMode="auto">
            <a:xfrm>
              <a:off x="7209410" y="5472365"/>
              <a:ext cx="1000775" cy="809958"/>
            </a:xfrm>
            <a:custGeom>
              <a:avLst/>
              <a:gdLst>
                <a:gd name="T0" fmla="*/ 34 w 3145"/>
                <a:gd name="T1" fmla="*/ 531 h 3133"/>
                <a:gd name="T2" fmla="*/ 1591 w 3145"/>
                <a:gd name="T3" fmla="*/ 0 h 3133"/>
                <a:gd name="T4" fmla="*/ 1591 w 3145"/>
                <a:gd name="T5" fmla="*/ 0 h 3133"/>
                <a:gd name="T6" fmla="*/ 3145 w 3145"/>
                <a:gd name="T7" fmla="*/ 531 h 3133"/>
                <a:gd name="T8" fmla="*/ 3145 w 3145"/>
                <a:gd name="T9" fmla="*/ 2589 h 3133"/>
                <a:gd name="T10" fmla="*/ 3024 w 3145"/>
                <a:gd name="T11" fmla="*/ 2837 h 3133"/>
                <a:gd name="T12" fmla="*/ 2384 w 3145"/>
                <a:gd name="T13" fmla="*/ 3005 h 3133"/>
                <a:gd name="T14" fmla="*/ 960 w 3145"/>
                <a:gd name="T15" fmla="*/ 3133 h 3133"/>
                <a:gd name="T16" fmla="*/ 0 w 3145"/>
                <a:gd name="T17" fmla="*/ 2597 h 3133"/>
                <a:gd name="T18" fmla="*/ 34 w 3145"/>
                <a:gd name="T19" fmla="*/ 531 h 3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5" h="3133">
                  <a:moveTo>
                    <a:pt x="34" y="531"/>
                  </a:moveTo>
                  <a:cubicBezTo>
                    <a:pt x="34" y="238"/>
                    <a:pt x="731" y="0"/>
                    <a:pt x="1591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2445" y="0"/>
                    <a:pt x="3145" y="238"/>
                    <a:pt x="3145" y="531"/>
                  </a:cubicBezTo>
                  <a:cubicBezTo>
                    <a:pt x="3145" y="2589"/>
                    <a:pt x="3145" y="2589"/>
                    <a:pt x="3145" y="2589"/>
                  </a:cubicBezTo>
                  <a:cubicBezTo>
                    <a:pt x="3024" y="2837"/>
                    <a:pt x="3024" y="2837"/>
                    <a:pt x="3024" y="2837"/>
                  </a:cubicBezTo>
                  <a:cubicBezTo>
                    <a:pt x="2384" y="3005"/>
                    <a:pt x="2384" y="3005"/>
                    <a:pt x="2384" y="3005"/>
                  </a:cubicBezTo>
                  <a:cubicBezTo>
                    <a:pt x="960" y="3133"/>
                    <a:pt x="960" y="3133"/>
                    <a:pt x="960" y="3133"/>
                  </a:cubicBezTo>
                  <a:cubicBezTo>
                    <a:pt x="0" y="2597"/>
                    <a:pt x="0" y="2597"/>
                    <a:pt x="0" y="2597"/>
                  </a:cubicBezTo>
                  <a:lnTo>
                    <a:pt x="34" y="531"/>
                  </a:lnTo>
                  <a:close/>
                </a:path>
              </a:pathLst>
            </a:custGeom>
            <a:solidFill>
              <a:srgbClr val="0071BC">
                <a:lumMod val="20000"/>
                <a:lumOff val="80000"/>
              </a:srgb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ysClr val="windowText" lastClr="000000"/>
                </a:solidFill>
                <a:latin typeface="+mj-lt"/>
                <a:cs typeface="+mn-cs"/>
              </a:endParaRPr>
            </a:p>
          </p:txBody>
        </p:sp>
        <p:sp>
          <p:nvSpPr>
            <p:cNvPr id="183" name="Freeform 7"/>
            <p:cNvSpPr>
              <a:spLocks noEditPoints="1"/>
            </p:cNvSpPr>
            <p:nvPr/>
          </p:nvSpPr>
          <p:spPr bwMode="auto">
            <a:xfrm>
              <a:off x="7141211" y="5402486"/>
              <a:ext cx="1146689" cy="914776"/>
            </a:xfrm>
            <a:custGeom>
              <a:avLst/>
              <a:gdLst>
                <a:gd name="T0" fmla="*/ 3356 w 3594"/>
                <a:gd name="T1" fmla="*/ 382 h 3535"/>
                <a:gd name="T2" fmla="*/ 1800 w 3594"/>
                <a:gd name="T3" fmla="*/ 0 h 3535"/>
                <a:gd name="T4" fmla="*/ 655 w 3594"/>
                <a:gd name="T5" fmla="*/ 165 h 3535"/>
                <a:gd name="T6" fmla="*/ 238 w 3594"/>
                <a:gd name="T7" fmla="*/ 382 h 3535"/>
                <a:gd name="T8" fmla="*/ 0 w 3594"/>
                <a:gd name="T9" fmla="*/ 833 h 3535"/>
                <a:gd name="T10" fmla="*/ 0 w 3594"/>
                <a:gd name="T11" fmla="*/ 2598 h 3535"/>
                <a:gd name="T12" fmla="*/ 214 w 3594"/>
                <a:gd name="T13" fmla="*/ 3069 h 3535"/>
                <a:gd name="T14" fmla="*/ 1800 w 3594"/>
                <a:gd name="T15" fmla="*/ 3535 h 3535"/>
                <a:gd name="T16" fmla="*/ 2282 w 3594"/>
                <a:gd name="T17" fmla="*/ 3505 h 3535"/>
                <a:gd name="T18" fmla="*/ 3373 w 3594"/>
                <a:gd name="T19" fmla="*/ 3077 h 3535"/>
                <a:gd name="T20" fmla="*/ 3379 w 3594"/>
                <a:gd name="T21" fmla="*/ 3077 h 3535"/>
                <a:gd name="T22" fmla="*/ 3594 w 3594"/>
                <a:gd name="T23" fmla="*/ 2606 h 3535"/>
                <a:gd name="T24" fmla="*/ 3594 w 3594"/>
                <a:gd name="T25" fmla="*/ 1655 h 3535"/>
                <a:gd name="T26" fmla="*/ 3594 w 3594"/>
                <a:gd name="T27" fmla="*/ 1655 h 3535"/>
                <a:gd name="T28" fmla="*/ 3594 w 3594"/>
                <a:gd name="T29" fmla="*/ 833 h 3535"/>
                <a:gd name="T30" fmla="*/ 3356 w 3594"/>
                <a:gd name="T31" fmla="*/ 382 h 3535"/>
                <a:gd name="T32" fmla="*/ 1800 w 3594"/>
                <a:gd name="T33" fmla="*/ 332 h 3535"/>
                <a:gd name="T34" fmla="*/ 3266 w 3594"/>
                <a:gd name="T35" fmla="*/ 833 h 3535"/>
                <a:gd name="T36" fmla="*/ 1800 w 3594"/>
                <a:gd name="T37" fmla="*/ 1337 h 3535"/>
                <a:gd name="T38" fmla="*/ 331 w 3594"/>
                <a:gd name="T39" fmla="*/ 833 h 3535"/>
                <a:gd name="T40" fmla="*/ 1800 w 3594"/>
                <a:gd name="T41" fmla="*/ 332 h 3535"/>
                <a:gd name="T42" fmla="*/ 331 w 3594"/>
                <a:gd name="T43" fmla="*/ 1436 h 3535"/>
                <a:gd name="T44" fmla="*/ 331 w 3594"/>
                <a:gd name="T45" fmla="*/ 1179 h 3535"/>
                <a:gd name="T46" fmla="*/ 331 w 3594"/>
                <a:gd name="T47" fmla="*/ 1179 h 3535"/>
                <a:gd name="T48" fmla="*/ 460 w 3594"/>
                <a:gd name="T49" fmla="*/ 1269 h 3535"/>
                <a:gd name="T50" fmla="*/ 1800 w 3594"/>
                <a:gd name="T51" fmla="*/ 1533 h 3535"/>
                <a:gd name="T52" fmla="*/ 2887 w 3594"/>
                <a:gd name="T53" fmla="*/ 1376 h 3535"/>
                <a:gd name="T54" fmla="*/ 3256 w 3594"/>
                <a:gd name="T55" fmla="*/ 1189 h 3535"/>
                <a:gd name="T56" fmla="*/ 3266 w 3594"/>
                <a:gd name="T57" fmla="*/ 1179 h 3535"/>
                <a:gd name="T58" fmla="*/ 3266 w 3594"/>
                <a:gd name="T59" fmla="*/ 1539 h 3535"/>
                <a:gd name="T60" fmla="*/ 3266 w 3594"/>
                <a:gd name="T61" fmla="*/ 1635 h 3535"/>
                <a:gd name="T62" fmla="*/ 3266 w 3594"/>
                <a:gd name="T63" fmla="*/ 2468 h 3535"/>
                <a:gd name="T64" fmla="*/ 3266 w 3594"/>
                <a:gd name="T65" fmla="*/ 2773 h 3535"/>
                <a:gd name="T66" fmla="*/ 3010 w 3594"/>
                <a:gd name="T67" fmla="*/ 3003 h 3535"/>
                <a:gd name="T68" fmla="*/ 2288 w 3594"/>
                <a:gd name="T69" fmla="*/ 3171 h 3535"/>
                <a:gd name="T70" fmla="*/ 1800 w 3594"/>
                <a:gd name="T71" fmla="*/ 3204 h 3535"/>
                <a:gd name="T72" fmla="*/ 1800 w 3594"/>
                <a:gd name="T73" fmla="*/ 3204 h 3535"/>
                <a:gd name="T74" fmla="*/ 331 w 3594"/>
                <a:gd name="T75" fmla="*/ 2598 h 3535"/>
                <a:gd name="T76" fmla="*/ 331 w 3594"/>
                <a:gd name="T77" fmla="*/ 2379 h 3535"/>
                <a:gd name="T78" fmla="*/ 331 w 3594"/>
                <a:gd name="T79" fmla="*/ 1436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94" h="3535">
                  <a:moveTo>
                    <a:pt x="3356" y="382"/>
                  </a:moveTo>
                  <a:cubicBezTo>
                    <a:pt x="3000" y="111"/>
                    <a:pt x="2455" y="10"/>
                    <a:pt x="1800" y="0"/>
                  </a:cubicBezTo>
                  <a:cubicBezTo>
                    <a:pt x="1361" y="0"/>
                    <a:pt x="964" y="60"/>
                    <a:pt x="655" y="165"/>
                  </a:cubicBezTo>
                  <a:cubicBezTo>
                    <a:pt x="496" y="221"/>
                    <a:pt x="359" y="284"/>
                    <a:pt x="238" y="382"/>
                  </a:cubicBezTo>
                  <a:cubicBezTo>
                    <a:pt x="121" y="471"/>
                    <a:pt x="0" y="626"/>
                    <a:pt x="0" y="833"/>
                  </a:cubicBezTo>
                  <a:cubicBezTo>
                    <a:pt x="0" y="2598"/>
                    <a:pt x="0" y="2598"/>
                    <a:pt x="0" y="2598"/>
                  </a:cubicBezTo>
                  <a:cubicBezTo>
                    <a:pt x="0" y="2795"/>
                    <a:pt x="97" y="2960"/>
                    <a:pt x="214" y="3069"/>
                  </a:cubicBezTo>
                  <a:cubicBezTo>
                    <a:pt x="567" y="3395"/>
                    <a:pt x="1133" y="3525"/>
                    <a:pt x="1800" y="3535"/>
                  </a:cubicBezTo>
                  <a:cubicBezTo>
                    <a:pt x="1962" y="3535"/>
                    <a:pt x="2131" y="3525"/>
                    <a:pt x="2282" y="3505"/>
                  </a:cubicBezTo>
                  <a:cubicBezTo>
                    <a:pt x="2282" y="3505"/>
                    <a:pt x="3096" y="3358"/>
                    <a:pt x="3373" y="3077"/>
                  </a:cubicBezTo>
                  <a:cubicBezTo>
                    <a:pt x="3379" y="3077"/>
                    <a:pt x="3379" y="3077"/>
                    <a:pt x="3379" y="3077"/>
                  </a:cubicBezTo>
                  <a:cubicBezTo>
                    <a:pt x="3496" y="2968"/>
                    <a:pt x="3594" y="2803"/>
                    <a:pt x="3594" y="2606"/>
                  </a:cubicBezTo>
                  <a:cubicBezTo>
                    <a:pt x="3594" y="2606"/>
                    <a:pt x="3594" y="2606"/>
                    <a:pt x="3594" y="1655"/>
                  </a:cubicBezTo>
                  <a:cubicBezTo>
                    <a:pt x="3594" y="1655"/>
                    <a:pt x="3594" y="1655"/>
                    <a:pt x="3594" y="1655"/>
                  </a:cubicBezTo>
                  <a:cubicBezTo>
                    <a:pt x="3594" y="833"/>
                    <a:pt x="3594" y="833"/>
                    <a:pt x="3594" y="833"/>
                  </a:cubicBezTo>
                  <a:cubicBezTo>
                    <a:pt x="3594" y="626"/>
                    <a:pt x="3473" y="471"/>
                    <a:pt x="3356" y="382"/>
                  </a:cubicBezTo>
                  <a:close/>
                  <a:moveTo>
                    <a:pt x="1800" y="332"/>
                  </a:moveTo>
                  <a:cubicBezTo>
                    <a:pt x="2605" y="332"/>
                    <a:pt x="3266" y="557"/>
                    <a:pt x="3266" y="833"/>
                  </a:cubicBezTo>
                  <a:cubicBezTo>
                    <a:pt x="3266" y="1112"/>
                    <a:pt x="2605" y="1337"/>
                    <a:pt x="1800" y="1337"/>
                  </a:cubicBezTo>
                  <a:cubicBezTo>
                    <a:pt x="988" y="1337"/>
                    <a:pt x="331" y="1112"/>
                    <a:pt x="331" y="833"/>
                  </a:cubicBezTo>
                  <a:cubicBezTo>
                    <a:pt x="331" y="557"/>
                    <a:pt x="988" y="332"/>
                    <a:pt x="1800" y="332"/>
                  </a:cubicBezTo>
                  <a:close/>
                  <a:moveTo>
                    <a:pt x="331" y="1436"/>
                  </a:moveTo>
                  <a:cubicBezTo>
                    <a:pt x="331" y="1179"/>
                    <a:pt x="331" y="1179"/>
                    <a:pt x="331" y="1179"/>
                  </a:cubicBezTo>
                  <a:cubicBezTo>
                    <a:pt x="331" y="1179"/>
                    <a:pt x="331" y="1179"/>
                    <a:pt x="331" y="1179"/>
                  </a:cubicBezTo>
                  <a:cubicBezTo>
                    <a:pt x="369" y="1211"/>
                    <a:pt x="413" y="1243"/>
                    <a:pt x="460" y="1269"/>
                  </a:cubicBezTo>
                  <a:cubicBezTo>
                    <a:pt x="764" y="1436"/>
                    <a:pt x="1242" y="1530"/>
                    <a:pt x="1800" y="1533"/>
                  </a:cubicBezTo>
                  <a:cubicBezTo>
                    <a:pt x="2216" y="1533"/>
                    <a:pt x="2599" y="1476"/>
                    <a:pt x="2887" y="1376"/>
                  </a:cubicBezTo>
                  <a:cubicBezTo>
                    <a:pt x="3034" y="1327"/>
                    <a:pt x="3155" y="1265"/>
                    <a:pt x="3256" y="1189"/>
                  </a:cubicBezTo>
                  <a:cubicBezTo>
                    <a:pt x="3258" y="1185"/>
                    <a:pt x="3262" y="1181"/>
                    <a:pt x="3266" y="1179"/>
                  </a:cubicBezTo>
                  <a:cubicBezTo>
                    <a:pt x="3266" y="1539"/>
                    <a:pt x="3266" y="1539"/>
                    <a:pt x="3266" y="1539"/>
                  </a:cubicBezTo>
                  <a:cubicBezTo>
                    <a:pt x="3266" y="1635"/>
                    <a:pt x="3266" y="1635"/>
                    <a:pt x="3266" y="1635"/>
                  </a:cubicBezTo>
                  <a:cubicBezTo>
                    <a:pt x="3266" y="2468"/>
                    <a:pt x="3266" y="2468"/>
                    <a:pt x="3266" y="2468"/>
                  </a:cubicBezTo>
                  <a:cubicBezTo>
                    <a:pt x="3266" y="2773"/>
                    <a:pt x="3266" y="2773"/>
                    <a:pt x="3266" y="2773"/>
                  </a:cubicBezTo>
                  <a:cubicBezTo>
                    <a:pt x="3246" y="2822"/>
                    <a:pt x="3189" y="2908"/>
                    <a:pt x="3010" y="3003"/>
                  </a:cubicBezTo>
                  <a:cubicBezTo>
                    <a:pt x="2562" y="3141"/>
                    <a:pt x="2288" y="3171"/>
                    <a:pt x="2288" y="3171"/>
                  </a:cubicBezTo>
                  <a:cubicBezTo>
                    <a:pt x="2137" y="3194"/>
                    <a:pt x="1966" y="3204"/>
                    <a:pt x="1800" y="3204"/>
                  </a:cubicBezTo>
                  <a:cubicBezTo>
                    <a:pt x="1800" y="3204"/>
                    <a:pt x="1800" y="3204"/>
                    <a:pt x="1800" y="3204"/>
                  </a:cubicBezTo>
                  <a:cubicBezTo>
                    <a:pt x="988" y="3204"/>
                    <a:pt x="331" y="2932"/>
                    <a:pt x="331" y="2598"/>
                  </a:cubicBezTo>
                  <a:cubicBezTo>
                    <a:pt x="331" y="2510"/>
                    <a:pt x="331" y="2439"/>
                    <a:pt x="331" y="2379"/>
                  </a:cubicBezTo>
                  <a:lnTo>
                    <a:pt x="331" y="1436"/>
                  </a:lnTo>
                  <a:close/>
                </a:path>
              </a:pathLst>
            </a:custGeom>
            <a:solidFill>
              <a:srgbClr val="00AE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2880" tIns="396000" b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+mn-cs"/>
                </a:rPr>
                <a:t>SQL Database</a:t>
              </a:r>
            </a:p>
          </p:txBody>
        </p:sp>
      </p:grp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1281113" y="1501775"/>
            <a:ext cx="2986087" cy="708025"/>
            <a:chOff x="1281113" y="1501775"/>
            <a:chExt cx="2986087" cy="708025"/>
          </a:xfrm>
        </p:grpSpPr>
        <p:sp>
          <p:nvSpPr>
            <p:cNvPr id="231" name="מלבן מעוגל 230"/>
            <p:cNvSpPr/>
            <p:nvPr/>
          </p:nvSpPr>
          <p:spPr bwMode="auto">
            <a:xfrm>
              <a:off x="1281113" y="1501775"/>
              <a:ext cx="2986087" cy="70802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  <a:headEnd type="triangle" w="med" len="med"/>
              <a:tailEnd type="triangle" w="med" len="med"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1"/>
            <a:lstStyle/>
            <a:p>
              <a:pPr>
                <a:defRPr/>
              </a:pPr>
              <a:endParaRPr lang="he-IL">
                <a:solidFill>
                  <a:schemeClr val="tx1"/>
                </a:solidFill>
                <a:latin typeface="Lucida Console" pitchFamily="49" charset="0"/>
              </a:endParaRPr>
            </a:p>
          </p:txBody>
        </p:sp>
        <p:pic>
          <p:nvPicPr>
            <p:cNvPr id="5158" name="Picture 2" descr="C:\Users\vittorib\Desktop\PDCPics\95. logo FB.pn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5500" y="1584325"/>
              <a:ext cx="509588" cy="50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59" name="Picture 3" descr="C:\Users\vittorib\Desktop\PDCPics\95. logo G.png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0650" y="1501775"/>
              <a:ext cx="673100" cy="674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60" name="Picture 4" descr="C:\Users\vittorib\Desktop\PDCPics\95. logo wlid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7963" y="1601788"/>
              <a:ext cx="479425" cy="503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61" name="Picture 2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8038" y="1595438"/>
              <a:ext cx="769937" cy="487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3340100" y="4354513"/>
            <a:ext cx="2697163" cy="1352550"/>
            <a:chOff x="3340100" y="4354513"/>
            <a:chExt cx="2697163" cy="1352550"/>
          </a:xfrm>
        </p:grpSpPr>
        <p:sp>
          <p:nvSpPr>
            <p:cNvPr id="201" name="Freeform 6"/>
            <p:cNvSpPr>
              <a:spLocks/>
            </p:cNvSpPr>
            <p:nvPr/>
          </p:nvSpPr>
          <p:spPr bwMode="auto">
            <a:xfrm>
              <a:off x="3340100" y="4354513"/>
              <a:ext cx="2697163" cy="133191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</p:spPr>
          <p:txBody>
            <a:bodyPr lIns="274320" tIns="27432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 dirty="0">
                <a:solidFill>
                  <a:srgbClr val="FFFFFF">
                    <a:alpha val="99000"/>
                  </a:srgbClr>
                </a:solidFill>
                <a:latin typeface="+mj-lt"/>
                <a:cs typeface="+mn-cs"/>
              </a:endParaRPr>
            </a:p>
          </p:txBody>
        </p:sp>
        <p:sp>
          <p:nvSpPr>
            <p:cNvPr id="167" name="Rectangle 26"/>
            <p:cNvSpPr/>
            <p:nvPr/>
          </p:nvSpPr>
          <p:spPr>
            <a:xfrm>
              <a:off x="4523581" y="4768851"/>
              <a:ext cx="1224047" cy="91782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rIns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63" fontAlgn="auto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+mj-lt"/>
                </a:rPr>
                <a:t>Hosted </a:t>
              </a:r>
            </a:p>
            <a:p>
              <a:pPr algn="ctr" defTabSz="914363" fontAlgn="auto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/>
                  </a:solidFill>
                  <a:latin typeface="+mj-lt"/>
                </a:rPr>
                <a:t>Service</a:t>
              </a: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5156" name="Picture 3" descr="D:\Users\Efrat\Downloads\2012-August-Redmond\T04-Azure\images\links.pn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8700" y="4822825"/>
              <a:ext cx="884238" cy="884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98" name="Straight Arrow Connector 45"/>
          <p:cNvCxnSpPr/>
          <p:nvPr>
            <p:custDataLst>
              <p:tags r:id="rId7"/>
            </p:custDataLst>
          </p:nvPr>
        </p:nvCxnSpPr>
        <p:spPr>
          <a:xfrm flipV="1">
            <a:off x="1173163" y="2209800"/>
            <a:ext cx="784225" cy="1439863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5150" name="קבוצה 289816"/>
          <p:cNvGrpSpPr>
            <a:grpSpLocks/>
          </p:cNvGrpSpPr>
          <p:nvPr/>
        </p:nvGrpSpPr>
        <p:grpSpPr bwMode="auto">
          <a:xfrm>
            <a:off x="1816100" y="4891088"/>
            <a:ext cx="522288" cy="585787"/>
            <a:chOff x="1531916" y="4820068"/>
            <a:chExt cx="522903" cy="585718"/>
          </a:xfrm>
        </p:grpSpPr>
        <p:sp>
          <p:nvSpPr>
            <p:cNvPr id="5152" name="מלבן מעוגל 289805"/>
            <p:cNvSpPr>
              <a:spLocks noChangeArrowheads="1"/>
            </p:cNvSpPr>
            <p:nvPr/>
          </p:nvSpPr>
          <p:spPr bwMode="auto">
            <a:xfrm>
              <a:off x="1531916" y="4820068"/>
              <a:ext cx="522903" cy="585718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14:hiddenLine>
              </a:ext>
            </a:extLst>
          </p:spPr>
          <p:txBody>
            <a:bodyPr/>
            <a:lstStyle/>
            <a:p>
              <a:endParaRPr lang="he-IL"/>
            </a:p>
          </p:txBody>
        </p:sp>
        <p:sp>
          <p:nvSpPr>
            <p:cNvPr id="213" name="Freeform 164"/>
            <p:cNvSpPr>
              <a:spLocks noEditPoints="1"/>
            </p:cNvSpPr>
            <p:nvPr/>
          </p:nvSpPr>
          <p:spPr bwMode="black">
            <a:xfrm>
              <a:off x="1620921" y="4870862"/>
              <a:ext cx="356019" cy="492067"/>
            </a:xfrm>
            <a:custGeom>
              <a:avLst/>
              <a:gdLst>
                <a:gd name="T0" fmla="*/ 221 w 288"/>
                <a:gd name="T1" fmla="*/ 373 h 399"/>
                <a:gd name="T2" fmla="*/ 194 w 288"/>
                <a:gd name="T3" fmla="*/ 350 h 399"/>
                <a:gd name="T4" fmla="*/ 137 w 288"/>
                <a:gd name="T5" fmla="*/ 150 h 399"/>
                <a:gd name="T6" fmla="*/ 165 w 288"/>
                <a:gd name="T7" fmla="*/ 398 h 399"/>
                <a:gd name="T8" fmla="*/ 94 w 288"/>
                <a:gd name="T9" fmla="*/ 325 h 399"/>
                <a:gd name="T10" fmla="*/ 192 w 288"/>
                <a:gd name="T11" fmla="*/ 269 h 399"/>
                <a:gd name="T12" fmla="*/ 223 w 288"/>
                <a:gd name="T13" fmla="*/ 371 h 399"/>
                <a:gd name="T14" fmla="*/ 135 w 288"/>
                <a:gd name="T15" fmla="*/ 170 h 399"/>
                <a:gd name="T16" fmla="*/ 179 w 288"/>
                <a:gd name="T17" fmla="*/ 395 h 399"/>
                <a:gd name="T18" fmla="*/ 135 w 288"/>
                <a:gd name="T19" fmla="*/ 324 h 399"/>
                <a:gd name="T20" fmla="*/ 154 w 288"/>
                <a:gd name="T21" fmla="*/ 308 h 399"/>
                <a:gd name="T22" fmla="*/ 208 w 288"/>
                <a:gd name="T23" fmla="*/ 382 h 399"/>
                <a:gd name="T24" fmla="*/ 85 w 288"/>
                <a:gd name="T25" fmla="*/ 380 h 399"/>
                <a:gd name="T26" fmla="*/ 143 w 288"/>
                <a:gd name="T27" fmla="*/ 82 h 399"/>
                <a:gd name="T28" fmla="*/ 228 w 288"/>
                <a:gd name="T29" fmla="*/ 288 h 399"/>
                <a:gd name="T30" fmla="*/ 253 w 288"/>
                <a:gd name="T31" fmla="*/ 340 h 399"/>
                <a:gd name="T32" fmla="*/ 247 w 288"/>
                <a:gd name="T33" fmla="*/ 233 h 399"/>
                <a:gd name="T34" fmla="*/ 20 w 288"/>
                <a:gd name="T35" fmla="*/ 263 h 399"/>
                <a:gd name="T36" fmla="*/ 85 w 288"/>
                <a:gd name="T37" fmla="*/ 380 h 399"/>
                <a:gd name="T38" fmla="*/ 219 w 288"/>
                <a:gd name="T39" fmla="*/ 242 h 399"/>
                <a:gd name="T40" fmla="*/ 56 w 288"/>
                <a:gd name="T41" fmla="*/ 305 h 399"/>
                <a:gd name="T42" fmla="*/ 129 w 288"/>
                <a:gd name="T43" fmla="*/ 397 h 399"/>
                <a:gd name="T44" fmla="*/ 137 w 288"/>
                <a:gd name="T45" fmla="*/ 115 h 399"/>
                <a:gd name="T46" fmla="*/ 210 w 288"/>
                <a:gd name="T47" fmla="*/ 334 h 399"/>
                <a:gd name="T48" fmla="*/ 239 w 288"/>
                <a:gd name="T49" fmla="*/ 357 h 399"/>
                <a:gd name="T50" fmla="*/ 0 w 288"/>
                <a:gd name="T51" fmla="*/ 202 h 399"/>
                <a:gd name="T52" fmla="*/ 144 w 288"/>
                <a:gd name="T53" fmla="*/ 51 h 399"/>
                <a:gd name="T54" fmla="*/ 252 w 288"/>
                <a:gd name="T55" fmla="*/ 298 h 399"/>
                <a:gd name="T56" fmla="*/ 266 w 288"/>
                <a:gd name="T57" fmla="*/ 320 h 399"/>
                <a:gd name="T58" fmla="*/ 277 w 288"/>
                <a:gd name="T59" fmla="*/ 221 h 399"/>
                <a:gd name="T60" fmla="*/ 3 w 288"/>
                <a:gd name="T61" fmla="*/ 162 h 399"/>
                <a:gd name="T62" fmla="*/ 0 w 288"/>
                <a:gd name="T63" fmla="*/ 202 h 399"/>
                <a:gd name="T64" fmla="*/ 145 w 288"/>
                <a:gd name="T65" fmla="*/ 0 h 399"/>
                <a:gd name="T66" fmla="*/ 144 w 288"/>
                <a:gd name="T67" fmla="*/ 18 h 399"/>
                <a:gd name="T68" fmla="*/ 142 w 288"/>
                <a:gd name="T69" fmla="*/ 308 h 399"/>
                <a:gd name="T70" fmla="*/ 137 w 288"/>
                <a:gd name="T71" fmla="*/ 201 h 399"/>
                <a:gd name="T72" fmla="*/ 130 w 288"/>
                <a:gd name="T73" fmla="*/ 208 h 399"/>
                <a:gd name="T74" fmla="*/ 142 w 288"/>
                <a:gd name="T75" fmla="*/ 30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8" h="399">
                  <a:moveTo>
                    <a:pt x="223" y="371"/>
                  </a:moveTo>
                  <a:cubicBezTo>
                    <a:pt x="221" y="373"/>
                    <a:pt x="221" y="373"/>
                    <a:pt x="221" y="373"/>
                  </a:cubicBezTo>
                  <a:cubicBezTo>
                    <a:pt x="220" y="374"/>
                    <a:pt x="218" y="375"/>
                    <a:pt x="217" y="376"/>
                  </a:cubicBezTo>
                  <a:cubicBezTo>
                    <a:pt x="215" y="374"/>
                    <a:pt x="205" y="366"/>
                    <a:pt x="194" y="350"/>
                  </a:cubicBezTo>
                  <a:cubicBezTo>
                    <a:pt x="181" y="332"/>
                    <a:pt x="177" y="299"/>
                    <a:pt x="180" y="268"/>
                  </a:cubicBezTo>
                  <a:cubicBezTo>
                    <a:pt x="186" y="212"/>
                    <a:pt x="180" y="148"/>
                    <a:pt x="137" y="150"/>
                  </a:cubicBezTo>
                  <a:cubicBezTo>
                    <a:pt x="90" y="152"/>
                    <a:pt x="69" y="245"/>
                    <a:pt x="106" y="319"/>
                  </a:cubicBezTo>
                  <a:cubicBezTo>
                    <a:pt x="125" y="357"/>
                    <a:pt x="150" y="384"/>
                    <a:pt x="165" y="398"/>
                  </a:cubicBezTo>
                  <a:cubicBezTo>
                    <a:pt x="161" y="398"/>
                    <a:pt x="157" y="399"/>
                    <a:pt x="153" y="399"/>
                  </a:cubicBezTo>
                  <a:cubicBezTo>
                    <a:pt x="137" y="384"/>
                    <a:pt x="115" y="364"/>
                    <a:pt x="94" y="325"/>
                  </a:cubicBezTo>
                  <a:cubicBezTo>
                    <a:pt x="46" y="236"/>
                    <a:pt x="82" y="134"/>
                    <a:pt x="137" y="134"/>
                  </a:cubicBezTo>
                  <a:cubicBezTo>
                    <a:pt x="195" y="134"/>
                    <a:pt x="201" y="201"/>
                    <a:pt x="192" y="269"/>
                  </a:cubicBezTo>
                  <a:cubicBezTo>
                    <a:pt x="188" y="301"/>
                    <a:pt x="191" y="329"/>
                    <a:pt x="202" y="346"/>
                  </a:cubicBezTo>
                  <a:cubicBezTo>
                    <a:pt x="213" y="363"/>
                    <a:pt x="224" y="370"/>
                    <a:pt x="223" y="371"/>
                  </a:cubicBezTo>
                  <a:close/>
                  <a:moveTo>
                    <a:pt x="166" y="306"/>
                  </a:moveTo>
                  <a:cubicBezTo>
                    <a:pt x="163" y="275"/>
                    <a:pt x="185" y="172"/>
                    <a:pt x="135" y="170"/>
                  </a:cubicBezTo>
                  <a:cubicBezTo>
                    <a:pt x="104" y="169"/>
                    <a:pt x="77" y="248"/>
                    <a:pt x="125" y="329"/>
                  </a:cubicBezTo>
                  <a:cubicBezTo>
                    <a:pt x="143" y="361"/>
                    <a:pt x="166" y="383"/>
                    <a:pt x="179" y="395"/>
                  </a:cubicBezTo>
                  <a:cubicBezTo>
                    <a:pt x="182" y="394"/>
                    <a:pt x="185" y="393"/>
                    <a:pt x="188" y="392"/>
                  </a:cubicBezTo>
                  <a:cubicBezTo>
                    <a:pt x="177" y="381"/>
                    <a:pt x="153" y="358"/>
                    <a:pt x="135" y="324"/>
                  </a:cubicBezTo>
                  <a:cubicBezTo>
                    <a:pt x="101" y="266"/>
                    <a:pt x="110" y="186"/>
                    <a:pt x="135" y="186"/>
                  </a:cubicBezTo>
                  <a:cubicBezTo>
                    <a:pt x="168" y="186"/>
                    <a:pt x="149" y="268"/>
                    <a:pt x="154" y="308"/>
                  </a:cubicBezTo>
                  <a:cubicBezTo>
                    <a:pt x="160" y="352"/>
                    <a:pt x="187" y="377"/>
                    <a:pt x="200" y="386"/>
                  </a:cubicBezTo>
                  <a:cubicBezTo>
                    <a:pt x="203" y="385"/>
                    <a:pt x="205" y="384"/>
                    <a:pt x="208" y="382"/>
                  </a:cubicBezTo>
                  <a:cubicBezTo>
                    <a:pt x="199" y="375"/>
                    <a:pt x="170" y="350"/>
                    <a:pt x="166" y="306"/>
                  </a:cubicBezTo>
                  <a:close/>
                  <a:moveTo>
                    <a:pt x="85" y="380"/>
                  </a:moveTo>
                  <a:cubicBezTo>
                    <a:pt x="65" y="357"/>
                    <a:pt x="36" y="313"/>
                    <a:pt x="31" y="261"/>
                  </a:cubicBezTo>
                  <a:cubicBezTo>
                    <a:pt x="25" y="164"/>
                    <a:pt x="66" y="82"/>
                    <a:pt x="143" y="82"/>
                  </a:cubicBezTo>
                  <a:cubicBezTo>
                    <a:pt x="213" y="82"/>
                    <a:pt x="241" y="157"/>
                    <a:pt x="235" y="231"/>
                  </a:cubicBezTo>
                  <a:cubicBezTo>
                    <a:pt x="234" y="251"/>
                    <a:pt x="228" y="269"/>
                    <a:pt x="228" y="288"/>
                  </a:cubicBezTo>
                  <a:cubicBezTo>
                    <a:pt x="227" y="320"/>
                    <a:pt x="236" y="334"/>
                    <a:pt x="248" y="347"/>
                  </a:cubicBezTo>
                  <a:cubicBezTo>
                    <a:pt x="250" y="345"/>
                    <a:pt x="251" y="343"/>
                    <a:pt x="253" y="340"/>
                  </a:cubicBezTo>
                  <a:cubicBezTo>
                    <a:pt x="246" y="330"/>
                    <a:pt x="237" y="313"/>
                    <a:pt x="238" y="289"/>
                  </a:cubicBezTo>
                  <a:cubicBezTo>
                    <a:pt x="239" y="273"/>
                    <a:pt x="243" y="254"/>
                    <a:pt x="247" y="233"/>
                  </a:cubicBezTo>
                  <a:cubicBezTo>
                    <a:pt x="257" y="169"/>
                    <a:pt x="233" y="66"/>
                    <a:pt x="143" y="65"/>
                  </a:cubicBezTo>
                  <a:cubicBezTo>
                    <a:pt x="77" y="64"/>
                    <a:pt x="7" y="129"/>
                    <a:pt x="20" y="263"/>
                  </a:cubicBezTo>
                  <a:cubicBezTo>
                    <a:pt x="24" y="299"/>
                    <a:pt x="39" y="330"/>
                    <a:pt x="54" y="354"/>
                  </a:cubicBezTo>
                  <a:cubicBezTo>
                    <a:pt x="64" y="365"/>
                    <a:pt x="74" y="373"/>
                    <a:pt x="85" y="380"/>
                  </a:cubicBezTo>
                  <a:close/>
                  <a:moveTo>
                    <a:pt x="219" y="331"/>
                  </a:moveTo>
                  <a:cubicBezTo>
                    <a:pt x="211" y="309"/>
                    <a:pt x="212" y="277"/>
                    <a:pt x="219" y="242"/>
                  </a:cubicBezTo>
                  <a:cubicBezTo>
                    <a:pt x="228" y="183"/>
                    <a:pt x="216" y="99"/>
                    <a:pt x="137" y="99"/>
                  </a:cubicBezTo>
                  <a:cubicBezTo>
                    <a:pt x="73" y="99"/>
                    <a:pt x="16" y="198"/>
                    <a:pt x="56" y="305"/>
                  </a:cubicBezTo>
                  <a:cubicBezTo>
                    <a:pt x="72" y="346"/>
                    <a:pt x="96" y="376"/>
                    <a:pt x="113" y="393"/>
                  </a:cubicBezTo>
                  <a:cubicBezTo>
                    <a:pt x="118" y="395"/>
                    <a:pt x="123" y="396"/>
                    <a:pt x="129" y="397"/>
                  </a:cubicBezTo>
                  <a:cubicBezTo>
                    <a:pt x="113" y="382"/>
                    <a:pt x="84" y="348"/>
                    <a:pt x="67" y="300"/>
                  </a:cubicBezTo>
                  <a:cubicBezTo>
                    <a:pt x="37" y="213"/>
                    <a:pt x="79" y="116"/>
                    <a:pt x="137" y="115"/>
                  </a:cubicBezTo>
                  <a:cubicBezTo>
                    <a:pt x="189" y="114"/>
                    <a:pt x="216" y="168"/>
                    <a:pt x="208" y="239"/>
                  </a:cubicBezTo>
                  <a:cubicBezTo>
                    <a:pt x="201" y="274"/>
                    <a:pt x="200" y="310"/>
                    <a:pt x="210" y="334"/>
                  </a:cubicBezTo>
                  <a:cubicBezTo>
                    <a:pt x="217" y="351"/>
                    <a:pt x="228" y="359"/>
                    <a:pt x="233" y="363"/>
                  </a:cubicBezTo>
                  <a:cubicBezTo>
                    <a:pt x="235" y="361"/>
                    <a:pt x="237" y="359"/>
                    <a:pt x="239" y="357"/>
                  </a:cubicBezTo>
                  <a:cubicBezTo>
                    <a:pt x="235" y="354"/>
                    <a:pt x="225" y="347"/>
                    <a:pt x="219" y="331"/>
                  </a:cubicBezTo>
                  <a:close/>
                  <a:moveTo>
                    <a:pt x="0" y="202"/>
                  </a:moveTo>
                  <a:cubicBezTo>
                    <a:pt x="0" y="217"/>
                    <a:pt x="1" y="231"/>
                    <a:pt x="4" y="245"/>
                  </a:cubicBezTo>
                  <a:cubicBezTo>
                    <a:pt x="6" y="146"/>
                    <a:pt x="40" y="49"/>
                    <a:pt x="144" y="51"/>
                  </a:cubicBezTo>
                  <a:cubicBezTo>
                    <a:pt x="230" y="51"/>
                    <a:pt x="271" y="143"/>
                    <a:pt x="262" y="219"/>
                  </a:cubicBezTo>
                  <a:cubicBezTo>
                    <a:pt x="259" y="248"/>
                    <a:pt x="252" y="276"/>
                    <a:pt x="252" y="298"/>
                  </a:cubicBezTo>
                  <a:cubicBezTo>
                    <a:pt x="252" y="315"/>
                    <a:pt x="258" y="326"/>
                    <a:pt x="260" y="330"/>
                  </a:cubicBezTo>
                  <a:cubicBezTo>
                    <a:pt x="262" y="327"/>
                    <a:pt x="264" y="323"/>
                    <a:pt x="266" y="320"/>
                  </a:cubicBezTo>
                  <a:cubicBezTo>
                    <a:pt x="263" y="314"/>
                    <a:pt x="261" y="308"/>
                    <a:pt x="262" y="298"/>
                  </a:cubicBezTo>
                  <a:cubicBezTo>
                    <a:pt x="262" y="279"/>
                    <a:pt x="272" y="252"/>
                    <a:pt x="277" y="221"/>
                  </a:cubicBezTo>
                  <a:cubicBezTo>
                    <a:pt x="288" y="144"/>
                    <a:pt x="247" y="31"/>
                    <a:pt x="144" y="31"/>
                  </a:cubicBezTo>
                  <a:cubicBezTo>
                    <a:pt x="62" y="32"/>
                    <a:pt x="18" y="92"/>
                    <a:pt x="3" y="162"/>
                  </a:cubicBezTo>
                  <a:cubicBezTo>
                    <a:pt x="1" y="175"/>
                    <a:pt x="0" y="188"/>
                    <a:pt x="0" y="201"/>
                  </a:cubicBezTo>
                  <a:cubicBezTo>
                    <a:pt x="0" y="201"/>
                    <a:pt x="0" y="202"/>
                    <a:pt x="0" y="202"/>
                  </a:cubicBezTo>
                  <a:close/>
                  <a:moveTo>
                    <a:pt x="262" y="75"/>
                  </a:moveTo>
                  <a:cubicBezTo>
                    <a:pt x="244" y="44"/>
                    <a:pt x="206" y="0"/>
                    <a:pt x="145" y="0"/>
                  </a:cubicBezTo>
                  <a:cubicBezTo>
                    <a:pt x="108" y="0"/>
                    <a:pt x="80" y="18"/>
                    <a:pt x="58" y="40"/>
                  </a:cubicBezTo>
                  <a:cubicBezTo>
                    <a:pt x="60" y="39"/>
                    <a:pt x="91" y="18"/>
                    <a:pt x="144" y="18"/>
                  </a:cubicBezTo>
                  <a:cubicBezTo>
                    <a:pt x="220" y="18"/>
                    <a:pt x="262" y="75"/>
                    <a:pt x="262" y="75"/>
                  </a:cubicBezTo>
                  <a:close/>
                  <a:moveTo>
                    <a:pt x="142" y="308"/>
                  </a:moveTo>
                  <a:cubicBezTo>
                    <a:pt x="140" y="294"/>
                    <a:pt x="141" y="277"/>
                    <a:pt x="142" y="260"/>
                  </a:cubicBezTo>
                  <a:cubicBezTo>
                    <a:pt x="143" y="238"/>
                    <a:pt x="144" y="209"/>
                    <a:pt x="137" y="201"/>
                  </a:cubicBezTo>
                  <a:cubicBezTo>
                    <a:pt x="137" y="201"/>
                    <a:pt x="137" y="201"/>
                    <a:pt x="135" y="201"/>
                  </a:cubicBezTo>
                  <a:cubicBezTo>
                    <a:pt x="135" y="201"/>
                    <a:pt x="132" y="202"/>
                    <a:pt x="130" y="208"/>
                  </a:cubicBezTo>
                  <a:cubicBezTo>
                    <a:pt x="122" y="227"/>
                    <a:pt x="122" y="271"/>
                    <a:pt x="141" y="308"/>
                  </a:cubicBezTo>
                  <a:cubicBezTo>
                    <a:pt x="141" y="309"/>
                    <a:pt x="142" y="309"/>
                    <a:pt x="142" y="3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82305" tIns="41153" rIns="82305" bIns="41153"/>
            <a:lstStyle/>
            <a:p>
              <a:pPr>
                <a:defRPr/>
              </a:pPr>
              <a:endParaRPr lang="en-US">
                <a:latin typeface="+mj-lt"/>
                <a:cs typeface="+mn-cs"/>
              </a:endParaRPr>
            </a:p>
          </p:txBody>
        </p:sp>
      </p:grpSp>
      <p:cxnSp>
        <p:nvCxnSpPr>
          <p:cNvPr id="219" name="Straight Arrow Connector 52"/>
          <p:cNvCxnSpPr/>
          <p:nvPr>
            <p:custDataLst>
              <p:tags r:id="rId8"/>
            </p:custDataLst>
          </p:nvPr>
        </p:nvCxnSpPr>
        <p:spPr>
          <a:xfrm flipV="1">
            <a:off x="5662613" y="3870325"/>
            <a:ext cx="1201737" cy="69215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3851920" y="5805264"/>
            <a:ext cx="2243137" cy="598488"/>
            <a:chOff x="4055738" y="6025572"/>
            <a:chExt cx="2243440" cy="598746"/>
          </a:xfrm>
        </p:grpSpPr>
        <p:sp>
          <p:nvSpPr>
            <p:cNvPr id="180" name="Rectangle 38"/>
            <p:cNvSpPr/>
            <p:nvPr>
              <p:custDataLst>
                <p:tags r:id="rId16"/>
              </p:custDataLst>
            </p:nvPr>
          </p:nvSpPr>
          <p:spPr>
            <a:xfrm>
              <a:off x="4523581" y="6025572"/>
              <a:ext cx="1775597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Windows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 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Azure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 </a:t>
              </a: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</a:rPr>
                <a:t>Caching</a:t>
              </a:r>
            </a:p>
          </p:txBody>
        </p:sp>
        <p:pic>
          <p:nvPicPr>
            <p:cNvPr id="225" name="Picture 1"/>
            <p:cNvPicPr>
              <a:picLocks noChangeAspect="1"/>
            </p:cNvPicPr>
            <p:nvPr/>
          </p:nvPicPr>
          <p:blipFill>
            <a:blip r:embed="rId2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55738" y="6036501"/>
              <a:ext cx="587817" cy="58781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3697288" y="2511425"/>
            <a:ext cx="3740150" cy="1190625"/>
            <a:chOff x="3696645" y="2511410"/>
            <a:chExt cx="3740119" cy="1190472"/>
          </a:xfrm>
        </p:grpSpPr>
        <p:sp>
          <p:nvSpPr>
            <p:cNvPr id="156" name="Rectangle 43"/>
            <p:cNvSpPr/>
            <p:nvPr>
              <p:custDataLst>
                <p:tags r:id="rId12"/>
              </p:custDataLst>
            </p:nvPr>
          </p:nvSpPr>
          <p:spPr bwMode="auto">
            <a:xfrm>
              <a:off x="3708724" y="3466761"/>
              <a:ext cx="1438959" cy="235121"/>
            </a:xfrm>
            <a:prstGeom prst="rect">
              <a:avLst/>
            </a:prstGeom>
            <a:solidFill>
              <a:srgbClr val="8CC6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36000" anchor="ctr"/>
            <a:lstStyle/>
            <a:p>
              <a:pPr algn="ctr" defTabSz="1218936" eaLnBrk="1" hangingPunct="1"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ea typeface="Segoe UI" pitchFamily="34" charset="0"/>
                  <a:cs typeface="Segoe UI" pitchFamily="34" charset="0"/>
                </a:rPr>
                <a:t>Web App</a:t>
              </a:r>
            </a:p>
          </p:txBody>
        </p:sp>
        <p:sp>
          <p:nvSpPr>
            <p:cNvPr id="165" name="Rectangle 54"/>
            <p:cNvSpPr/>
            <p:nvPr>
              <p:custDataLst>
                <p:tags r:id="rId13"/>
              </p:custDataLst>
            </p:nvPr>
          </p:nvSpPr>
          <p:spPr>
            <a:xfrm>
              <a:off x="3964435" y="2511410"/>
              <a:ext cx="3472329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Cache control </a:t>
              </a:r>
              <a:b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</a:b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Versioned URLs</a:t>
              </a:r>
            </a:p>
          </p:txBody>
        </p:sp>
        <p:cxnSp>
          <p:nvCxnSpPr>
            <p:cNvPr id="217" name="Straight Arrow Connector 45"/>
            <p:cNvCxnSpPr/>
            <p:nvPr>
              <p:custDataLst>
                <p:tags r:id="rId14"/>
              </p:custDataLst>
            </p:nvPr>
          </p:nvCxnSpPr>
          <p:spPr>
            <a:xfrm>
              <a:off x="3988743" y="3378074"/>
              <a:ext cx="2578079" cy="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240" name="Rectangle 43"/>
            <p:cNvSpPr/>
            <p:nvPr>
              <p:custDataLst>
                <p:tags r:id="rId15"/>
              </p:custDataLst>
            </p:nvPr>
          </p:nvSpPr>
          <p:spPr bwMode="auto">
            <a:xfrm>
              <a:off x="3696645" y="3066152"/>
              <a:ext cx="1438959" cy="235121"/>
            </a:xfrm>
            <a:prstGeom prst="rect">
              <a:avLst/>
            </a:prstGeom>
            <a:solidFill>
              <a:srgbClr val="8CC6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36000" anchor="ctr"/>
            <a:lstStyle/>
            <a:p>
              <a:pPr algn="ctr" defTabSz="1218936" eaLnBrk="1" hangingPunct="1"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ea typeface="Segoe UI" pitchFamily="34" charset="0"/>
                  <a:cs typeface="Segoe UI" pitchFamily="34" charset="0"/>
                </a:rPr>
                <a:t>Public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6489700" y="2219325"/>
            <a:ext cx="1446213" cy="1835150"/>
            <a:chOff x="6490184" y="2219065"/>
            <a:chExt cx="1446377" cy="1834842"/>
          </a:xfrm>
        </p:grpSpPr>
        <p:sp>
          <p:nvSpPr>
            <p:cNvPr id="148" name="Rectangle 11"/>
            <p:cNvSpPr/>
            <p:nvPr>
              <p:custDataLst>
                <p:tags r:id="rId9"/>
              </p:custDataLst>
            </p:nvPr>
          </p:nvSpPr>
          <p:spPr>
            <a:xfrm>
              <a:off x="6528165" y="2219065"/>
              <a:ext cx="1359736" cy="5232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4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2">
                      <a:lumMod val="20000"/>
                      <a:lumOff val="80000"/>
                    </a:schemeClr>
                  </a:solidFill>
                  <a:latin typeface="+mj-lt"/>
                  <a:cs typeface="+mn-cs"/>
                </a:rPr>
                <a:t>Blob Storage</a:t>
              </a:r>
            </a:p>
          </p:txBody>
        </p:sp>
        <p:pic>
          <p:nvPicPr>
            <p:cNvPr id="233" name="Picture 4" descr="D:\Users\Efrat\Downloads\2012-August-Redmond\T04-Azure\images\266209.jpg"/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0184" y="2607530"/>
              <a:ext cx="1446377" cy="1446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5" name="Pentagon 27"/>
            <p:cNvSpPr/>
            <p:nvPr>
              <p:custDataLst>
                <p:tags r:id="rId10"/>
              </p:custDataLst>
            </p:nvPr>
          </p:nvSpPr>
          <p:spPr bwMode="auto">
            <a:xfrm rot="239544">
              <a:off x="6644361" y="3177278"/>
              <a:ext cx="787568" cy="250571"/>
            </a:xfrm>
            <a:prstGeom prst="homePlate">
              <a:avLst/>
            </a:prstGeom>
            <a:solidFill>
              <a:srgbClr val="00AEEF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91436" tIns="45718" rIns="91436" bIns="45718" anchor="ctr"/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1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Public</a:t>
              </a:r>
            </a:p>
          </p:txBody>
        </p:sp>
        <p:sp>
          <p:nvSpPr>
            <p:cNvPr id="246" name="Pentagon 29"/>
            <p:cNvSpPr/>
            <p:nvPr>
              <p:custDataLst>
                <p:tags r:id="rId11"/>
              </p:custDataLst>
            </p:nvPr>
          </p:nvSpPr>
          <p:spPr bwMode="auto">
            <a:xfrm rot="239544">
              <a:off x="6644361" y="3418791"/>
              <a:ext cx="787568" cy="250571"/>
            </a:xfrm>
            <a:prstGeom prst="homePlat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5718" rIns="0" bIns="45718" anchor="ctr"/>
            <a:lstStyle/>
            <a:p>
              <a:pPr algn="ctr" eaLnBrk="1" hangingPunct="1">
                <a:spcBef>
                  <a:spcPts val="1000"/>
                </a:spcBef>
                <a:spcAft>
                  <a:spcPts val="0"/>
                </a:spcAft>
                <a:buSzPct val="80000"/>
                <a:defRPr/>
              </a:pPr>
              <a:r>
                <a:rPr lang="en-US" sz="11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latin typeface="+mj-lt"/>
                  <a:cs typeface="+mn-cs"/>
                </a:rPr>
                <a:t>Priv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010022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n-Premise Bicycle Store 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eb Application</a:t>
            </a:r>
            <a:endParaRPr lang="he-IL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5396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SQL Database</a:t>
            </a:r>
            <a:endParaRPr lang="he-IL" dirty="0"/>
          </a:p>
        </p:txBody>
      </p:sp>
      <p:sp>
        <p:nvSpPr>
          <p:cNvPr id="7171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mtClean="0"/>
              <a:t>Why?</a:t>
            </a:r>
          </a:p>
          <a:p>
            <a:pPr lvl="1"/>
            <a:r>
              <a:rPr lang="en-US" smtClean="0"/>
              <a:t>Avoid accessing local SQL Server from the cloud</a:t>
            </a:r>
          </a:p>
          <a:p>
            <a:pPr lvl="1"/>
            <a:r>
              <a:rPr lang="en-US" smtClean="0"/>
              <a:t>Cannot install SQL Server on worker roles</a:t>
            </a:r>
          </a:p>
          <a:p>
            <a:pPr lvl="1"/>
            <a:r>
              <a:rPr lang="en-US" smtClean="0"/>
              <a:t>SQL Databases provide reliability and performance</a:t>
            </a:r>
          </a:p>
          <a:p>
            <a:r>
              <a:rPr lang="en-US" smtClean="0"/>
              <a:t>How?</a:t>
            </a:r>
          </a:p>
          <a:p>
            <a:pPr lvl="1"/>
            <a:r>
              <a:rPr lang="en-US" smtClean="0"/>
              <a:t>Migrate existing membership and application databases to a SQL Database</a:t>
            </a:r>
          </a:p>
          <a:p>
            <a:pPr lvl="1"/>
            <a:r>
              <a:rPr lang="en-US" smtClean="0"/>
              <a:t>Change connections strings in the application</a:t>
            </a:r>
          </a:p>
          <a:p>
            <a:r>
              <a:rPr lang="en-US" smtClean="0"/>
              <a:t>Caveats</a:t>
            </a:r>
          </a:p>
          <a:p>
            <a:pPr lvl="1"/>
            <a:r>
              <a:rPr lang="en-US" smtClean="0"/>
              <a:t>Aspnet_regsql doesn’t work with SQL Database</a:t>
            </a:r>
          </a:p>
        </p:txBody>
      </p:sp>
      <p:pic>
        <p:nvPicPr>
          <p:cNvPr id="7174" name="Picture 6" descr="C:\Users\Jonahs\Dropbox\Projects SCOTT\MEET Windows Azure\source\Background\tile-icon-databas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347" y="261211"/>
            <a:ext cx="639321" cy="67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2"/>
          <p:cNvGrpSpPr>
            <a:grpSpLocks/>
          </p:cNvGrpSpPr>
          <p:nvPr/>
        </p:nvGrpSpPr>
        <p:grpSpPr bwMode="auto">
          <a:xfrm>
            <a:off x="7720013" y="0"/>
            <a:ext cx="1423987" cy="1403350"/>
            <a:chOff x="3671323" y="596839"/>
            <a:chExt cx="1896557" cy="1772642"/>
          </a:xfrm>
        </p:grpSpPr>
        <p:sp>
          <p:nvSpPr>
            <p:cNvPr id="12" name="Rectangle 10"/>
            <p:cNvSpPr/>
            <p:nvPr/>
          </p:nvSpPr>
          <p:spPr bwMode="auto">
            <a:xfrm>
              <a:off x="3671323" y="596839"/>
              <a:ext cx="1896557" cy="1772642"/>
            </a:xfrm>
            <a:prstGeom prst="rect">
              <a:avLst/>
            </a:prstGeom>
            <a:solidFill>
              <a:srgbClr val="000099"/>
            </a:solidFill>
            <a:ln w="25400" cap="flat" cmpd="sng" algn="ctr">
              <a:solidFill>
                <a:srgbClr val="000099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tIns="91440" rIns="91436" bIns="91440" anchor="b"/>
            <a:lstStyle/>
            <a:p>
              <a:pPr marL="0" marR="0" lvl="0" indent="0" defTabSz="91409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base</a:t>
              </a:r>
            </a:p>
          </p:txBody>
        </p:sp>
        <p:pic>
          <p:nvPicPr>
            <p:cNvPr id="13" name="Picture 6" descr="C:\Users\Jonahs\Dropbox\Projects SCOTT\MEET Windows Azure\source\Background\tile-icon-database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926787"/>
              <a:ext cx="851488" cy="85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1975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mtClean="0"/>
              <a:t>Building Secured, Scalable, </a:t>
            </a:r>
            <a:br>
              <a:rPr lang="en-US" smtClean="0"/>
            </a:br>
            <a:r>
              <a:rPr lang="en-US" smtClean="0"/>
              <a:t>Low-latency Web Applications with the Windows Azure Platform</a:t>
            </a:r>
            <a:endParaRPr lang="he-IL" dirty="0" smtClean="0"/>
          </a:p>
        </p:txBody>
      </p:sp>
    </p:spTree>
    <p:extLst>
      <p:ext uri="{BB962C8B-B14F-4D97-AF65-F5344CB8AC3E}">
        <p14:creationId xmlns:p14="http://schemas.microsoft.com/office/powerpoint/2010/main" val="41866859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defRPr/>
            </a:pPr>
            <a:r>
              <a:rPr lang="en-US" dirty="0" smtClean="0"/>
              <a:t>Storage</a:t>
            </a:r>
            <a:endParaRPr lang="he-IL" dirty="0"/>
          </a:p>
        </p:txBody>
      </p:sp>
      <p:sp>
        <p:nvSpPr>
          <p:cNvPr id="9219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smtClean="0"/>
              <a:t>Why?</a:t>
            </a:r>
          </a:p>
          <a:p>
            <a:pPr lvl="1"/>
            <a:r>
              <a:rPr lang="en-US" smtClean="0"/>
              <a:t>Reduce load on web server by moving resources to external storage servers</a:t>
            </a:r>
          </a:p>
          <a:p>
            <a:pPr lvl="1"/>
            <a:r>
              <a:rPr lang="en-US" smtClean="0"/>
              <a:t>Blob storage resources are accessible via HTTP</a:t>
            </a:r>
          </a:p>
          <a:p>
            <a:r>
              <a:rPr lang="en-US" smtClean="0"/>
              <a:t>How?</a:t>
            </a:r>
          </a:p>
          <a:p>
            <a:pPr lvl="1"/>
            <a:r>
              <a:rPr lang="en-US" smtClean="0"/>
              <a:t>Move resources from web application to blob storage</a:t>
            </a:r>
          </a:p>
          <a:p>
            <a:pPr lvl="1"/>
            <a:r>
              <a:rPr lang="en-US" smtClean="0"/>
              <a:t>Change links in application to point to the blob</a:t>
            </a:r>
          </a:p>
          <a:p>
            <a:r>
              <a:rPr lang="en-US" smtClean="0"/>
              <a:t>Caveats</a:t>
            </a:r>
          </a:p>
          <a:p>
            <a:pPr lvl="1"/>
            <a:r>
              <a:rPr lang="en-US" smtClean="0"/>
              <a:t>Workaround required when working locally</a:t>
            </a:r>
          </a:p>
          <a:p>
            <a:pPr lvl="1"/>
            <a:r>
              <a:rPr lang="en-US" smtClean="0"/>
              <a:t>Need to manually set caching rules on resources</a:t>
            </a:r>
          </a:p>
        </p:txBody>
      </p:sp>
      <p:grpSp>
        <p:nvGrpSpPr>
          <p:cNvPr id="10" name="Group 36"/>
          <p:cNvGrpSpPr>
            <a:grpSpLocks/>
          </p:cNvGrpSpPr>
          <p:nvPr/>
        </p:nvGrpSpPr>
        <p:grpSpPr bwMode="auto">
          <a:xfrm>
            <a:off x="7727157" y="0"/>
            <a:ext cx="1423987" cy="1401762"/>
            <a:chOff x="5665775" y="2466267"/>
            <a:chExt cx="1896557" cy="1772642"/>
          </a:xfrm>
        </p:grpSpPr>
        <p:sp>
          <p:nvSpPr>
            <p:cNvPr id="12" name="Rectangle 16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000099"/>
            </a:solidFill>
            <a:ln w="25400" cap="flat" cmpd="sng" algn="ctr">
              <a:solidFill>
                <a:srgbClr val="000099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tIns="91440" rIns="91436" bIns="91440" anchor="b"/>
            <a:lstStyle/>
            <a:p>
              <a:pPr marL="0" marR="0" lvl="0" indent="0" defTabSz="91409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age</a:t>
              </a:r>
            </a:p>
          </p:txBody>
        </p:sp>
        <p:pic>
          <p:nvPicPr>
            <p:cNvPr id="13" name="Picture 2" descr="C:\Users\Jonahs\Dropbox\Projects SCOTT\MEET Windows Azure\source\Background\tile-icon-storage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4660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>
              <a:defRPr/>
            </a:pPr>
            <a:r>
              <a:rPr lang="en-US" sz="4200" dirty="0" smtClean="0"/>
              <a:t>Content Delivery Network (CDN)</a:t>
            </a:r>
            <a:endParaRPr lang="he-IL" sz="4200" dirty="0"/>
          </a:p>
        </p:txBody>
      </p:sp>
      <p:sp>
        <p:nvSpPr>
          <p:cNvPr id="10243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mtClean="0"/>
              <a:t>Why?</a:t>
            </a:r>
          </a:p>
          <a:p>
            <a:pPr lvl="1"/>
            <a:r>
              <a:rPr lang="en-US" smtClean="0"/>
              <a:t>Improve user-experience by bringing the content closer to the customer</a:t>
            </a:r>
          </a:p>
          <a:p>
            <a:pPr lvl="1"/>
            <a:r>
              <a:rPr lang="en-US" smtClean="0"/>
              <a:t>Can be applied to storage and hosted service</a:t>
            </a:r>
          </a:p>
          <a:p>
            <a:r>
              <a:rPr lang="en-US" smtClean="0"/>
              <a:t>How?</a:t>
            </a:r>
          </a:p>
          <a:p>
            <a:pPr lvl="1"/>
            <a:r>
              <a:rPr lang="en-US" smtClean="0"/>
              <a:t>Configure CDN for storage and hosted service</a:t>
            </a:r>
          </a:p>
          <a:p>
            <a:pPr lvl="1"/>
            <a:r>
              <a:rPr lang="en-US" smtClean="0"/>
              <a:t>Change links to point to CDN instead of storage</a:t>
            </a:r>
          </a:p>
          <a:p>
            <a:pPr lvl="1"/>
            <a:r>
              <a:rPr lang="en-US" smtClean="0"/>
              <a:t>Move application resources to a “\cdn” folder</a:t>
            </a:r>
          </a:p>
          <a:p>
            <a:r>
              <a:rPr lang="en-US" smtClean="0"/>
              <a:t>Caveats</a:t>
            </a:r>
          </a:p>
          <a:p>
            <a:pPr lvl="1"/>
            <a:r>
              <a:rPr lang="en-US" smtClean="0"/>
              <a:t>ASP.NET’s bundling feature doesn’t work with CDN</a:t>
            </a:r>
          </a:p>
          <a:p>
            <a:pPr lvl="1"/>
            <a:r>
              <a:rPr lang="en-US" smtClean="0"/>
              <a:t>Requires some work to support both local &amp; cloud</a:t>
            </a:r>
          </a:p>
        </p:txBody>
      </p:sp>
      <p:grpSp>
        <p:nvGrpSpPr>
          <p:cNvPr id="11" name="Group 37"/>
          <p:cNvGrpSpPr>
            <a:grpSpLocks/>
          </p:cNvGrpSpPr>
          <p:nvPr/>
        </p:nvGrpSpPr>
        <p:grpSpPr bwMode="auto">
          <a:xfrm>
            <a:off x="7713836" y="-11708"/>
            <a:ext cx="1422400" cy="1403350"/>
            <a:chOff x="5656726" y="4341709"/>
            <a:chExt cx="1896557" cy="1772642"/>
          </a:xfrm>
        </p:grpSpPr>
        <p:sp>
          <p:nvSpPr>
            <p:cNvPr id="12" name="Rectangle 28"/>
            <p:cNvSpPr/>
            <p:nvPr/>
          </p:nvSpPr>
          <p:spPr bwMode="auto">
            <a:xfrm>
              <a:off x="5656726" y="4341709"/>
              <a:ext cx="1896557" cy="1772642"/>
            </a:xfrm>
            <a:prstGeom prst="rect">
              <a:avLst/>
            </a:prstGeom>
            <a:solidFill>
              <a:srgbClr val="000099"/>
            </a:solidFill>
            <a:ln w="25400" cap="flat" cmpd="sng" algn="ctr">
              <a:solidFill>
                <a:srgbClr val="000099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tIns="91440" rIns="91436" bIns="91440" anchor="b"/>
            <a:lstStyle/>
            <a:p>
              <a:pPr marL="0" marR="0" lvl="0" indent="0" defTabSz="91409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DN</a:t>
              </a:r>
            </a:p>
          </p:txBody>
        </p:sp>
        <p:pic>
          <p:nvPicPr>
            <p:cNvPr id="13" name="Picture 5" descr="C:\Users\Jonahs\Dropbox\Projects SCOTT\MEET Windows Azure\source\Background\tile-icon-CDN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60" y="4671657"/>
              <a:ext cx="851488" cy="85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8120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ilding Secured, Scalable, </a:t>
            </a:r>
            <a:br>
              <a:rPr lang="en-US" dirty="0"/>
            </a:br>
            <a:r>
              <a:rPr lang="en-US" dirty="0"/>
              <a:t>Low-latency Web Applications with the Windows Azure Platform</a:t>
            </a:r>
            <a:endParaRPr lang="he-IL" dirty="0" smtClean="0"/>
          </a:p>
        </p:txBody>
      </p:sp>
    </p:spTree>
    <p:extLst>
      <p:ext uri="{BB962C8B-B14F-4D97-AF65-F5344CB8AC3E}">
        <p14:creationId xmlns:p14="http://schemas.microsoft.com/office/powerpoint/2010/main" val="20748146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JHQoxHf02ahWUepsQQM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t41YK.UGzrD7avQyt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tmHuw5ESxWF.8O3_K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2nICPb3EClZkiqCqlB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ITrmVBXUiYH_HuAz92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tBrTlnmU6.NvTKn2hN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C4W_wHd0uV.n0A9BaP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tBrTlnmU6.NvTKn2hN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hsa05Na02Uw20xcL_1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3PZlGpukGw_h4JAAR_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JHQoxHf02ahWUepsQQ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JMuJwTDUOzUlRCrdmL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x5mTDNZU2hHPL6mbp2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RfC5k5tk656re3PCBx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t41YK.UGzrD7avQyt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JHQoxHf02ahWUepsQQ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Mch3dnbkumbhvPRfmi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ilUMs2.EaFjf4H5hsR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t41YK.UGzrD7avQyt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RfC5k5tk656re3PCBx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tmHuw5ESxWF.8O3_K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2nICPb3EClZkiqCqlB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ITrmVBXUiYH_HuAz92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tBrTlnmU6.NvTKn2hN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C4W_wHd0uV.n0A9BaP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tBrTlnmU6.NvTKn2hN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hsa05Na02Uw20xcL_1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3PZlGpukGw_h4JAAR_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JMuJwTDUOzUlRCrdmL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x5mTDNZU2hHPL6mbp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t41YK.UGzrD7avQyt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JHQoxHf02ahWUepsQQ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Mch3dnbkumbhvPRfmi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ilUMs2.EaFjf4H5hsR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F8xdgMCkKtZmG8ft1Ib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vReach PPT 1">
      <a:majorFont>
        <a:latin typeface="News Gothic Com Thin"/>
        <a:ea typeface=""/>
        <a:cs typeface=""/>
      </a:majorFont>
      <a:minorFont>
        <a:latin typeface="News Gothic Com Th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</TotalTime>
  <Words>881</Words>
  <Application>Microsoft Office PowerPoint</Application>
  <PresentationFormat>On-screen Show (4:3)</PresentationFormat>
  <Paragraphs>166</Paragraphs>
  <Slides>19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Office Theme</vt:lpstr>
      <vt:lpstr>Building web applications with the Windows Azure Platform</vt:lpstr>
      <vt:lpstr>On-Premise Web Application Architectural Overview</vt:lpstr>
      <vt:lpstr>Cloud-based Web Application Architectural Overview</vt:lpstr>
      <vt:lpstr>PowerPoint Presentation</vt:lpstr>
      <vt:lpstr>SQL Database</vt:lpstr>
      <vt:lpstr>PowerPoint Presentation</vt:lpstr>
      <vt:lpstr>Storage</vt:lpstr>
      <vt:lpstr>Content Delivery Network (CDN)</vt:lpstr>
      <vt:lpstr>PowerPoint Presentation</vt:lpstr>
      <vt:lpstr>Full IIS Support</vt:lpstr>
      <vt:lpstr>Windows Azure Diagnostics</vt:lpstr>
      <vt:lpstr>PowerPoint Presentation</vt:lpstr>
      <vt:lpstr>Windows Azure Caching</vt:lpstr>
      <vt:lpstr>PowerPoint Presentation</vt:lpstr>
      <vt:lpstr>Identity, ACS, and WIF</vt:lpstr>
      <vt:lpstr>PowerPoint Presentation</vt:lpstr>
      <vt:lpstr>Cloud-based Web Application Architectural Overview</vt:lpstr>
      <vt:lpstr>If We Had the Entire Week…</vt:lpstr>
      <vt:lpstr>Windows Azure Resources</vt:lpstr>
    </vt:vector>
  </TitlesOfParts>
  <Company>Sel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do Flatow</dc:creator>
  <cp:lastModifiedBy>Ido Flatow</cp:lastModifiedBy>
  <cp:revision>35</cp:revision>
  <dcterms:created xsi:type="dcterms:W3CDTF">2012-09-09T16:18:32Z</dcterms:created>
  <dcterms:modified xsi:type="dcterms:W3CDTF">2012-10-04T08:36:21Z</dcterms:modified>
</cp:coreProperties>
</file>